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2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3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4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5.xml" ContentType="application/vnd.openxmlformats-officedocument.themeOverride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1"/>
  </p:sldMasterIdLst>
  <p:notesMasterIdLst>
    <p:notesMasterId r:id="rId17"/>
  </p:notesMasterIdLst>
  <p:handoutMasterIdLst>
    <p:handoutMasterId r:id="rId18"/>
  </p:handoutMasterIdLst>
  <p:sldIdLst>
    <p:sldId id="257" r:id="rId12"/>
    <p:sldId id="693" r:id="rId13"/>
    <p:sldId id="694" r:id="rId14"/>
    <p:sldId id="695" r:id="rId15"/>
    <p:sldId id="690" r:id="rId16"/>
  </p:sldIdLst>
  <p:sldSz cx="12192000" cy="6858000"/>
  <p:notesSz cx="6858000" cy="9144000"/>
  <p:custDataLst>
    <p:custData r:id="rId6"/>
    <p:custData r:id="rId4"/>
    <p:custData r:id="rId3"/>
    <p:custData r:id="rId10"/>
    <p:custData r:id="rId8"/>
    <p:custData r:id="rId7"/>
    <p:custData r:id="rId5"/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70" userDrawn="1">
          <p15:clr>
            <a:srgbClr val="A4A3A4"/>
          </p15:clr>
        </p15:guide>
        <p15:guide id="2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uket Kara" initials="BK" lastIdx="8" clrIdx="0">
    <p:extLst>
      <p:ext uri="{19B8F6BF-5375-455C-9EA6-DF929625EA0E}">
        <p15:presenceInfo xmlns:p15="http://schemas.microsoft.com/office/powerpoint/2012/main" userId="S::kar@sevitec.ch::c4b56f61-2610-4e98-92c3-b0f8fb6d4bbb" providerId="AD"/>
      </p:ext>
    </p:extLst>
  </p:cmAuthor>
  <p:cmAuthor id="2" name="Claudia Kamensky" initials="CK" lastIdx="50" clrIdx="1">
    <p:extLst>
      <p:ext uri="{19B8F6BF-5375-455C-9EA6-DF929625EA0E}">
        <p15:presenceInfo xmlns:p15="http://schemas.microsoft.com/office/powerpoint/2012/main" userId="S::claudia.kamensky@clariant.com::07007597-5623-432c-ae8a-7457ceafda67" providerId="AD"/>
      </p:ext>
    </p:extLst>
  </p:cmAuthor>
  <p:cmAuthor id="3" name="Luca Lavina" initials="LL" lastIdx="10" clrIdx="2">
    <p:extLst>
      <p:ext uri="{19B8F6BF-5375-455C-9EA6-DF929625EA0E}">
        <p15:presenceInfo xmlns:p15="http://schemas.microsoft.com/office/powerpoint/2012/main" userId="S::luca.lavina@clariant.com::d0ded52d-f767-4090-b260-25e933249d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E5FF"/>
    <a:srgbClr val="000000"/>
    <a:srgbClr val="E4E4E4"/>
    <a:srgbClr val="61B8F2"/>
    <a:srgbClr val="30A3F2"/>
    <a:srgbClr val="F5F5F5"/>
    <a:srgbClr val="FFFFFF"/>
    <a:srgbClr val="D9D9D9"/>
    <a:srgbClr val="A6B9FF"/>
    <a:srgbClr val="7F9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4CE6AC-85A9-44D8-9E8B-AC2EA3D9306F}" v="8" dt="2023-04-25T11:14:21.098"/>
  </p1510:revLst>
</p1510:revInfo>
</file>

<file path=ppt/tableStyles.xml><?xml version="1.0" encoding="utf-8"?>
<a:tblStyleLst xmlns:a="http://schemas.openxmlformats.org/drawingml/2006/main" def="{0E3FDE45-AFF7-4B5C-9715-49D594BDFF5E}">
  <a:tblStyle styleId="{0E3FDE45-AFF7-4B5C-9715-49D594BDFF5E}" styleName="Clariant base tab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175" cmpd="sng">
              <a:solidFill>
                <a:schemeClr val="dk1"/>
              </a:solidFill>
            </a:ln>
          </a:top>
          <a:bottom>
            <a:ln w="3175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 w="3175" cmpd="sng">
              <a:solidFill>
                <a:schemeClr val="dk1"/>
              </a:solidFill>
            </a:ln>
          </a:top>
          <a:bottom>
            <a:ln w="3175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band1H>
    <a:band2H>
      <a:tcStyle>
        <a:tcBdr>
          <a:top>
            <a:ln w="3175" cmpd="sng">
              <a:solidFill>
                <a:schemeClr val="dk1"/>
              </a:solidFill>
            </a:ln>
          </a:top>
          <a:bottom>
            <a:ln w="3175" cmpd="sng">
              <a:solidFill>
                <a:schemeClr val="dk1"/>
              </a:solidFill>
            </a:ln>
          </a:bottom>
          <a:insideH>
            <a:ln w="3175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band2H>
    <a:band1V>
      <a:tcStyle>
        <a:tcBdr/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top>
            <a:ln w="1905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6357" autoAdjust="0"/>
  </p:normalViewPr>
  <p:slideViewPr>
    <p:cSldViewPr showGuides="1">
      <p:cViewPr varScale="1">
        <p:scale>
          <a:sx n="115" d="100"/>
          <a:sy n="115" d="100"/>
        </p:scale>
        <p:origin x="144" y="108"/>
      </p:cViewPr>
      <p:guideLst>
        <p:guide pos="2570"/>
        <p:guide orient="horz" pos="2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2" d="100"/>
          <a:sy n="52" d="100"/>
        </p:scale>
        <p:origin x="2862" y="8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iyesh Matabal" userId="65a93131-450f-485b-af62-62c2bd0c5d7a" providerId="ADAL" clId="{7DCE7FF0-A247-4CAD-801A-7C458DB8F417}"/>
    <pc:docChg chg="undo custSel addSld delSld modSld">
      <pc:chgData name="Priyesh Matabal" userId="65a93131-450f-485b-af62-62c2bd0c5d7a" providerId="ADAL" clId="{7DCE7FF0-A247-4CAD-801A-7C458DB8F417}" dt="2023-04-03T08:59:10.149" v="210" actId="207"/>
      <pc:docMkLst>
        <pc:docMk/>
      </pc:docMkLst>
      <pc:sldChg chg="add del">
        <pc:chgData name="Priyesh Matabal" userId="65a93131-450f-485b-af62-62c2bd0c5d7a" providerId="ADAL" clId="{7DCE7FF0-A247-4CAD-801A-7C458DB8F417}" dt="2023-04-03T08:49:29.215" v="10" actId="47"/>
        <pc:sldMkLst>
          <pc:docMk/>
          <pc:sldMk cId="2701651537" sldId="682"/>
        </pc:sldMkLst>
      </pc:sldChg>
      <pc:sldChg chg="add del">
        <pc:chgData name="Priyesh Matabal" userId="65a93131-450f-485b-af62-62c2bd0c5d7a" providerId="ADAL" clId="{7DCE7FF0-A247-4CAD-801A-7C458DB8F417}" dt="2023-04-03T08:49:29.015" v="9" actId="47"/>
        <pc:sldMkLst>
          <pc:docMk/>
          <pc:sldMk cId="444264478" sldId="683"/>
        </pc:sldMkLst>
      </pc:sldChg>
      <pc:sldChg chg="add del">
        <pc:chgData name="Priyesh Matabal" userId="65a93131-450f-485b-af62-62c2bd0c5d7a" providerId="ADAL" clId="{7DCE7FF0-A247-4CAD-801A-7C458DB8F417}" dt="2023-04-03T08:49:28.779" v="8" actId="47"/>
        <pc:sldMkLst>
          <pc:docMk/>
          <pc:sldMk cId="3355260222" sldId="684"/>
        </pc:sldMkLst>
      </pc:sldChg>
      <pc:sldChg chg="add del">
        <pc:chgData name="Priyesh Matabal" userId="65a93131-450f-485b-af62-62c2bd0c5d7a" providerId="ADAL" clId="{7DCE7FF0-A247-4CAD-801A-7C458DB8F417}" dt="2023-04-03T08:49:28.478" v="7" actId="47"/>
        <pc:sldMkLst>
          <pc:docMk/>
          <pc:sldMk cId="1107302131" sldId="685"/>
        </pc:sldMkLst>
      </pc:sldChg>
      <pc:sldChg chg="add del">
        <pc:chgData name="Priyesh Matabal" userId="65a93131-450f-485b-af62-62c2bd0c5d7a" providerId="ADAL" clId="{7DCE7FF0-A247-4CAD-801A-7C458DB8F417}" dt="2023-04-03T08:49:28.047" v="6" actId="47"/>
        <pc:sldMkLst>
          <pc:docMk/>
          <pc:sldMk cId="3852653626" sldId="686"/>
        </pc:sldMkLst>
      </pc:sldChg>
      <pc:sldChg chg="add del">
        <pc:chgData name="Priyesh Matabal" userId="65a93131-450f-485b-af62-62c2bd0c5d7a" providerId="ADAL" clId="{7DCE7FF0-A247-4CAD-801A-7C458DB8F417}" dt="2023-04-03T08:49:29.447" v="11" actId="47"/>
        <pc:sldMkLst>
          <pc:docMk/>
          <pc:sldMk cId="902974819" sldId="689"/>
        </pc:sldMkLst>
      </pc:sldChg>
      <pc:sldChg chg="addSp delSp modSp add mod">
        <pc:chgData name="Priyesh Matabal" userId="65a93131-450f-485b-af62-62c2bd0c5d7a" providerId="ADAL" clId="{7DCE7FF0-A247-4CAD-801A-7C458DB8F417}" dt="2023-04-03T08:59:10.149" v="210" actId="207"/>
        <pc:sldMkLst>
          <pc:docMk/>
          <pc:sldMk cId="3718704240" sldId="690"/>
        </pc:sldMkLst>
        <pc:spChg chg="del">
          <ac:chgData name="Priyesh Matabal" userId="65a93131-450f-485b-af62-62c2bd0c5d7a" providerId="ADAL" clId="{7DCE7FF0-A247-4CAD-801A-7C458DB8F417}" dt="2023-04-03T08:51:24.366" v="16" actId="478"/>
          <ac:spMkLst>
            <pc:docMk/>
            <pc:sldMk cId="3718704240" sldId="690"/>
            <ac:spMk id="3" creationId="{AE1FD608-BCD1-E312-5237-998237384D0E}"/>
          </ac:spMkLst>
        </pc:spChg>
        <pc:spChg chg="add mod">
          <ac:chgData name="Priyesh Matabal" userId="65a93131-450f-485b-af62-62c2bd0c5d7a" providerId="ADAL" clId="{7DCE7FF0-A247-4CAD-801A-7C458DB8F417}" dt="2023-04-03T08:57:37.107" v="78" actId="208"/>
          <ac:spMkLst>
            <pc:docMk/>
            <pc:sldMk cId="3718704240" sldId="690"/>
            <ac:spMk id="5" creationId="{722EEACE-2976-9C99-74C8-D7CA1773D52B}"/>
          </ac:spMkLst>
        </pc:spChg>
        <pc:spChg chg="add mod">
          <ac:chgData name="Priyesh Matabal" userId="65a93131-450f-485b-af62-62c2bd0c5d7a" providerId="ADAL" clId="{7DCE7FF0-A247-4CAD-801A-7C458DB8F417}" dt="2023-04-03T08:59:10.149" v="210" actId="207"/>
          <ac:spMkLst>
            <pc:docMk/>
            <pc:sldMk cId="3718704240" sldId="690"/>
            <ac:spMk id="6" creationId="{FCA6DC92-A560-D4DB-1ABF-0C6AFBF8229B}"/>
          </ac:spMkLst>
        </pc:spChg>
        <pc:cxnChg chg="add">
          <ac:chgData name="Priyesh Matabal" userId="65a93131-450f-485b-af62-62c2bd0c5d7a" providerId="ADAL" clId="{7DCE7FF0-A247-4CAD-801A-7C458DB8F417}" dt="2023-04-03T08:57:29.239" v="77" actId="11529"/>
          <ac:cxnSpMkLst>
            <pc:docMk/>
            <pc:sldMk cId="3718704240" sldId="690"/>
            <ac:cxnSpMk id="8" creationId="{10C7E801-9352-DE59-6A15-D932F4291451}"/>
          </ac:cxnSpMkLst>
        </pc:cxnChg>
      </pc:sldChg>
      <pc:sldChg chg="del">
        <pc:chgData name="Priyesh Matabal" userId="65a93131-450f-485b-af62-62c2bd0c5d7a" providerId="ADAL" clId="{7DCE7FF0-A247-4CAD-801A-7C458DB8F417}" dt="2023-04-03T08:49:52.348" v="12" actId="47"/>
        <pc:sldMkLst>
          <pc:docMk/>
          <pc:sldMk cId="4117207689" sldId="690"/>
        </pc:sldMkLst>
      </pc:sldChg>
      <pc:sldChg chg="del">
        <pc:chgData name="Priyesh Matabal" userId="65a93131-450f-485b-af62-62c2bd0c5d7a" providerId="ADAL" clId="{7DCE7FF0-A247-4CAD-801A-7C458DB8F417}" dt="2023-04-03T08:49:53.286" v="13" actId="47"/>
        <pc:sldMkLst>
          <pc:docMk/>
          <pc:sldMk cId="899340226" sldId="691"/>
        </pc:sldMkLst>
      </pc:sldChg>
      <pc:sldChg chg="addSp delSp modSp add mod">
        <pc:chgData name="Priyesh Matabal" userId="65a93131-450f-485b-af62-62c2bd0c5d7a" providerId="ADAL" clId="{7DCE7FF0-A247-4CAD-801A-7C458DB8F417}" dt="2023-04-03T08:58:54.838" v="209" actId="20577"/>
        <pc:sldMkLst>
          <pc:docMk/>
          <pc:sldMk cId="2136024385" sldId="691"/>
        </pc:sldMkLst>
        <pc:spChg chg="add mod">
          <ac:chgData name="Priyesh Matabal" userId="65a93131-450f-485b-af62-62c2bd0c5d7a" providerId="ADAL" clId="{7DCE7FF0-A247-4CAD-801A-7C458DB8F417}" dt="2023-04-03T08:58:54.838" v="209" actId="20577"/>
          <ac:spMkLst>
            <pc:docMk/>
            <pc:sldMk cId="2136024385" sldId="691"/>
            <ac:spMk id="4" creationId="{D9F427CF-D376-4FEF-DDDF-F9A434410767}"/>
          </ac:spMkLst>
        </pc:spChg>
        <pc:spChg chg="del">
          <ac:chgData name="Priyesh Matabal" userId="65a93131-450f-485b-af62-62c2bd0c5d7a" providerId="ADAL" clId="{7DCE7FF0-A247-4CAD-801A-7C458DB8F417}" dt="2023-04-03T08:58:02.523" v="84" actId="478"/>
          <ac:spMkLst>
            <pc:docMk/>
            <pc:sldMk cId="2136024385" sldId="691"/>
            <ac:spMk id="7" creationId="{644F60EC-923B-2813-0553-F38A8EC3D379}"/>
          </ac:spMkLst>
        </pc:spChg>
        <pc:spChg chg="del">
          <ac:chgData name="Priyesh Matabal" userId="65a93131-450f-485b-af62-62c2bd0c5d7a" providerId="ADAL" clId="{7DCE7FF0-A247-4CAD-801A-7C458DB8F417}" dt="2023-04-03T08:57:57.784" v="81" actId="478"/>
          <ac:spMkLst>
            <pc:docMk/>
            <pc:sldMk cId="2136024385" sldId="691"/>
            <ac:spMk id="9" creationId="{0F812F6D-FB40-302F-DE70-9E202E1E4D00}"/>
          </ac:spMkLst>
        </pc:spChg>
        <pc:picChg chg="del">
          <ac:chgData name="Priyesh Matabal" userId="65a93131-450f-485b-af62-62c2bd0c5d7a" providerId="ADAL" clId="{7DCE7FF0-A247-4CAD-801A-7C458DB8F417}" dt="2023-04-03T08:58:03.637" v="85" actId="478"/>
          <ac:picMkLst>
            <pc:docMk/>
            <pc:sldMk cId="2136024385" sldId="691"/>
            <ac:picMk id="3" creationId="{A81058FF-E779-899B-3BB7-D6362091B316}"/>
          </ac:picMkLst>
        </pc:picChg>
        <pc:picChg chg="del">
          <ac:chgData name="Priyesh Matabal" userId="65a93131-450f-485b-af62-62c2bd0c5d7a" providerId="ADAL" clId="{7DCE7FF0-A247-4CAD-801A-7C458DB8F417}" dt="2023-04-03T08:58:00.722" v="83" actId="478"/>
          <ac:picMkLst>
            <pc:docMk/>
            <pc:sldMk cId="2136024385" sldId="691"/>
            <ac:picMk id="6" creationId="{CAEABA75-0E55-4694-FA85-B639E0DB82B4}"/>
          </ac:picMkLst>
        </pc:picChg>
        <pc:picChg chg="del">
          <ac:chgData name="Priyesh Matabal" userId="65a93131-450f-485b-af62-62c2bd0c5d7a" providerId="ADAL" clId="{7DCE7FF0-A247-4CAD-801A-7C458DB8F417}" dt="2023-04-03T08:57:56.530" v="80" actId="478"/>
          <ac:picMkLst>
            <pc:docMk/>
            <pc:sldMk cId="2136024385" sldId="691"/>
            <ac:picMk id="8" creationId="{B5826387-788C-E94F-DF3E-8B2C24B21558}"/>
          </ac:picMkLst>
        </pc:picChg>
        <pc:cxnChg chg="del">
          <ac:chgData name="Priyesh Matabal" userId="65a93131-450f-485b-af62-62c2bd0c5d7a" providerId="ADAL" clId="{7DCE7FF0-A247-4CAD-801A-7C458DB8F417}" dt="2023-04-03T08:57:59.002" v="82" actId="478"/>
          <ac:cxnSpMkLst>
            <pc:docMk/>
            <pc:sldMk cId="2136024385" sldId="691"/>
            <ac:cxnSpMk id="5" creationId="{981A405A-FACA-6803-B879-32C8DBCA0AC5}"/>
          </ac:cxnSpMkLst>
        </pc:cxnChg>
      </pc:sldChg>
      <pc:sldChg chg="del">
        <pc:chgData name="Priyesh Matabal" userId="65a93131-450f-485b-af62-62c2bd0c5d7a" providerId="ADAL" clId="{7DCE7FF0-A247-4CAD-801A-7C458DB8F417}" dt="2023-04-03T08:49:54.447" v="14" actId="47"/>
        <pc:sldMkLst>
          <pc:docMk/>
          <pc:sldMk cId="1680798354" sldId="692"/>
        </pc:sldMkLst>
      </pc:sldChg>
    </pc:docChg>
  </pc:docChgLst>
  <pc:docChgLst>
    <pc:chgData name="Priyesh Matabal" userId="65a93131-450f-485b-af62-62c2bd0c5d7a" providerId="ADAL" clId="{A74CE6AC-85A9-44D8-9E8B-AC2EA3D9306F}"/>
    <pc:docChg chg="custSel addSld delSld modSld sldOrd">
      <pc:chgData name="Priyesh Matabal" userId="65a93131-450f-485b-af62-62c2bd0c5d7a" providerId="ADAL" clId="{A74CE6AC-85A9-44D8-9E8B-AC2EA3D9306F}" dt="2023-04-25T11:14:21.098" v="110" actId="14100"/>
      <pc:docMkLst>
        <pc:docMk/>
      </pc:docMkLst>
      <pc:sldChg chg="del">
        <pc:chgData name="Priyesh Matabal" userId="65a93131-450f-485b-af62-62c2bd0c5d7a" providerId="ADAL" clId="{A74CE6AC-85A9-44D8-9E8B-AC2EA3D9306F}" dt="2023-04-25T11:10:43.473" v="12" actId="47"/>
        <pc:sldMkLst>
          <pc:docMk/>
          <pc:sldMk cId="0" sldId="268"/>
        </pc:sldMkLst>
      </pc:sldChg>
      <pc:sldChg chg="del">
        <pc:chgData name="Priyesh Matabal" userId="65a93131-450f-485b-af62-62c2bd0c5d7a" providerId="ADAL" clId="{A74CE6AC-85A9-44D8-9E8B-AC2EA3D9306F}" dt="2023-04-25T11:09:41.460" v="4" actId="47"/>
        <pc:sldMkLst>
          <pc:docMk/>
          <pc:sldMk cId="0" sldId="269"/>
        </pc:sldMkLst>
      </pc:sldChg>
      <pc:sldChg chg="del">
        <pc:chgData name="Priyesh Matabal" userId="65a93131-450f-485b-af62-62c2bd0c5d7a" providerId="ADAL" clId="{A74CE6AC-85A9-44D8-9E8B-AC2EA3D9306F}" dt="2023-04-25T11:10:42.295" v="11" actId="47"/>
        <pc:sldMkLst>
          <pc:docMk/>
          <pc:sldMk cId="0" sldId="270"/>
        </pc:sldMkLst>
      </pc:sldChg>
      <pc:sldChg chg="del">
        <pc:chgData name="Priyesh Matabal" userId="65a93131-450f-485b-af62-62c2bd0c5d7a" providerId="ADAL" clId="{A74CE6AC-85A9-44D8-9E8B-AC2EA3D9306F}" dt="2023-04-25T11:11:51.946" v="17" actId="47"/>
        <pc:sldMkLst>
          <pc:docMk/>
          <pc:sldMk cId="3552163657" sldId="672"/>
        </pc:sldMkLst>
      </pc:sldChg>
      <pc:sldChg chg="del">
        <pc:chgData name="Priyesh Matabal" userId="65a93131-450f-485b-af62-62c2bd0c5d7a" providerId="ADAL" clId="{A74CE6AC-85A9-44D8-9E8B-AC2EA3D9306F}" dt="2023-04-25T11:13:56.875" v="103" actId="47"/>
        <pc:sldMkLst>
          <pc:docMk/>
          <pc:sldMk cId="3609441668" sldId="673"/>
        </pc:sldMkLst>
      </pc:sldChg>
      <pc:sldChg chg="del">
        <pc:chgData name="Priyesh Matabal" userId="65a93131-450f-485b-af62-62c2bd0c5d7a" providerId="ADAL" clId="{A74CE6AC-85A9-44D8-9E8B-AC2EA3D9306F}" dt="2023-04-25T11:11:53.533" v="19" actId="47"/>
        <pc:sldMkLst>
          <pc:docMk/>
          <pc:sldMk cId="3087941255" sldId="674"/>
        </pc:sldMkLst>
      </pc:sldChg>
      <pc:sldChg chg="del">
        <pc:chgData name="Priyesh Matabal" userId="65a93131-450f-485b-af62-62c2bd0c5d7a" providerId="ADAL" clId="{A74CE6AC-85A9-44D8-9E8B-AC2EA3D9306F}" dt="2023-04-25T11:11:55.892" v="21" actId="47"/>
        <pc:sldMkLst>
          <pc:docMk/>
          <pc:sldMk cId="3365844790" sldId="675"/>
        </pc:sldMkLst>
      </pc:sldChg>
      <pc:sldChg chg="del">
        <pc:chgData name="Priyesh Matabal" userId="65a93131-450f-485b-af62-62c2bd0c5d7a" providerId="ADAL" clId="{A74CE6AC-85A9-44D8-9E8B-AC2EA3D9306F}" dt="2023-04-25T11:11:57.960" v="23" actId="47"/>
        <pc:sldMkLst>
          <pc:docMk/>
          <pc:sldMk cId="3106817126" sldId="676"/>
        </pc:sldMkLst>
      </pc:sldChg>
      <pc:sldChg chg="del">
        <pc:chgData name="Priyesh Matabal" userId="65a93131-450f-485b-af62-62c2bd0c5d7a" providerId="ADAL" clId="{A74CE6AC-85A9-44D8-9E8B-AC2EA3D9306F}" dt="2023-04-25T11:11:58.606" v="25" actId="47"/>
        <pc:sldMkLst>
          <pc:docMk/>
          <pc:sldMk cId="935176733" sldId="677"/>
        </pc:sldMkLst>
      </pc:sldChg>
      <pc:sldChg chg="del">
        <pc:chgData name="Priyesh Matabal" userId="65a93131-450f-485b-af62-62c2bd0c5d7a" providerId="ADAL" clId="{A74CE6AC-85A9-44D8-9E8B-AC2EA3D9306F}" dt="2023-04-25T11:11:59.563" v="27" actId="47"/>
        <pc:sldMkLst>
          <pc:docMk/>
          <pc:sldMk cId="1581034870" sldId="678"/>
        </pc:sldMkLst>
      </pc:sldChg>
      <pc:sldChg chg="del">
        <pc:chgData name="Priyesh Matabal" userId="65a93131-450f-485b-af62-62c2bd0c5d7a" providerId="ADAL" clId="{A74CE6AC-85A9-44D8-9E8B-AC2EA3D9306F}" dt="2023-04-25T11:12:00.581" v="29" actId="47"/>
        <pc:sldMkLst>
          <pc:docMk/>
          <pc:sldMk cId="2648617567" sldId="679"/>
        </pc:sldMkLst>
      </pc:sldChg>
      <pc:sldChg chg="del">
        <pc:chgData name="Priyesh Matabal" userId="65a93131-450f-485b-af62-62c2bd0c5d7a" providerId="ADAL" clId="{A74CE6AC-85A9-44D8-9E8B-AC2EA3D9306F}" dt="2023-04-25T11:12:01.684" v="31" actId="47"/>
        <pc:sldMkLst>
          <pc:docMk/>
          <pc:sldMk cId="1247288664" sldId="680"/>
        </pc:sldMkLst>
      </pc:sldChg>
      <pc:sldChg chg="del">
        <pc:chgData name="Priyesh Matabal" userId="65a93131-450f-485b-af62-62c2bd0c5d7a" providerId="ADAL" clId="{A74CE6AC-85A9-44D8-9E8B-AC2EA3D9306F}" dt="2023-04-25T11:12:02.470" v="33" actId="47"/>
        <pc:sldMkLst>
          <pc:docMk/>
          <pc:sldMk cId="3819929308" sldId="681"/>
        </pc:sldMkLst>
      </pc:sldChg>
      <pc:sldChg chg="del">
        <pc:chgData name="Priyesh Matabal" userId="65a93131-450f-485b-af62-62c2bd0c5d7a" providerId="ADAL" clId="{A74CE6AC-85A9-44D8-9E8B-AC2EA3D9306F}" dt="2023-04-25T11:11:54.646" v="20" actId="47"/>
        <pc:sldMkLst>
          <pc:docMk/>
          <pc:sldMk cId="2701651537" sldId="682"/>
        </pc:sldMkLst>
      </pc:sldChg>
      <pc:sldChg chg="del">
        <pc:chgData name="Priyesh Matabal" userId="65a93131-450f-485b-af62-62c2bd0c5d7a" providerId="ADAL" clId="{A74CE6AC-85A9-44D8-9E8B-AC2EA3D9306F}" dt="2023-04-25T11:11:57.432" v="22" actId="47"/>
        <pc:sldMkLst>
          <pc:docMk/>
          <pc:sldMk cId="444264478" sldId="683"/>
        </pc:sldMkLst>
      </pc:sldChg>
      <pc:sldChg chg="del">
        <pc:chgData name="Priyesh Matabal" userId="65a93131-450f-485b-af62-62c2bd0c5d7a" providerId="ADAL" clId="{A74CE6AC-85A9-44D8-9E8B-AC2EA3D9306F}" dt="2023-04-25T11:11:58.298" v="24" actId="47"/>
        <pc:sldMkLst>
          <pc:docMk/>
          <pc:sldMk cId="3355260222" sldId="684"/>
        </pc:sldMkLst>
      </pc:sldChg>
      <pc:sldChg chg="del">
        <pc:chgData name="Priyesh Matabal" userId="65a93131-450f-485b-af62-62c2bd0c5d7a" providerId="ADAL" clId="{A74CE6AC-85A9-44D8-9E8B-AC2EA3D9306F}" dt="2023-04-25T11:11:59.078" v="26" actId="47"/>
        <pc:sldMkLst>
          <pc:docMk/>
          <pc:sldMk cId="1107302131" sldId="685"/>
        </pc:sldMkLst>
      </pc:sldChg>
      <pc:sldChg chg="del">
        <pc:chgData name="Priyesh Matabal" userId="65a93131-450f-485b-af62-62c2bd0c5d7a" providerId="ADAL" clId="{A74CE6AC-85A9-44D8-9E8B-AC2EA3D9306F}" dt="2023-04-25T11:11:59.981" v="28" actId="47"/>
        <pc:sldMkLst>
          <pc:docMk/>
          <pc:sldMk cId="3852653626" sldId="686"/>
        </pc:sldMkLst>
      </pc:sldChg>
      <pc:sldChg chg="del">
        <pc:chgData name="Priyesh Matabal" userId="65a93131-450f-485b-af62-62c2bd0c5d7a" providerId="ADAL" clId="{A74CE6AC-85A9-44D8-9E8B-AC2EA3D9306F}" dt="2023-04-25T11:12:01.120" v="30" actId="47"/>
        <pc:sldMkLst>
          <pc:docMk/>
          <pc:sldMk cId="3852841315" sldId="687"/>
        </pc:sldMkLst>
      </pc:sldChg>
      <pc:sldChg chg="del">
        <pc:chgData name="Priyesh Matabal" userId="65a93131-450f-485b-af62-62c2bd0c5d7a" providerId="ADAL" clId="{A74CE6AC-85A9-44D8-9E8B-AC2EA3D9306F}" dt="2023-04-25T11:12:01.922" v="32" actId="47"/>
        <pc:sldMkLst>
          <pc:docMk/>
          <pc:sldMk cId="753034542" sldId="688"/>
        </pc:sldMkLst>
      </pc:sldChg>
      <pc:sldChg chg="del">
        <pc:chgData name="Priyesh Matabal" userId="65a93131-450f-485b-af62-62c2bd0c5d7a" providerId="ADAL" clId="{A74CE6AC-85A9-44D8-9E8B-AC2EA3D9306F}" dt="2023-04-25T11:11:52.601" v="18" actId="47"/>
        <pc:sldMkLst>
          <pc:docMk/>
          <pc:sldMk cId="902974819" sldId="689"/>
        </pc:sldMkLst>
      </pc:sldChg>
      <pc:sldChg chg="ord">
        <pc:chgData name="Priyesh Matabal" userId="65a93131-450f-485b-af62-62c2bd0c5d7a" providerId="ADAL" clId="{A74CE6AC-85A9-44D8-9E8B-AC2EA3D9306F}" dt="2023-04-25T11:11:36.352" v="16"/>
        <pc:sldMkLst>
          <pc:docMk/>
          <pc:sldMk cId="3718704240" sldId="690"/>
        </pc:sldMkLst>
      </pc:sldChg>
      <pc:sldChg chg="del">
        <pc:chgData name="Priyesh Matabal" userId="65a93131-450f-485b-af62-62c2bd0c5d7a" providerId="ADAL" clId="{A74CE6AC-85A9-44D8-9E8B-AC2EA3D9306F}" dt="2023-04-25T11:12:02.724" v="34" actId="47"/>
        <pc:sldMkLst>
          <pc:docMk/>
          <pc:sldMk cId="2136024385" sldId="691"/>
        </pc:sldMkLst>
      </pc:sldChg>
      <pc:sldChg chg="add del">
        <pc:chgData name="Priyesh Matabal" userId="65a93131-450f-485b-af62-62c2bd0c5d7a" providerId="ADAL" clId="{A74CE6AC-85A9-44D8-9E8B-AC2EA3D9306F}" dt="2023-04-25T11:09:37.599" v="3" actId="47"/>
        <pc:sldMkLst>
          <pc:docMk/>
          <pc:sldMk cId="208712502" sldId="692"/>
        </pc:sldMkLst>
      </pc:sldChg>
      <pc:sldChg chg="addSp modSp new mod">
        <pc:chgData name="Priyesh Matabal" userId="65a93131-450f-485b-af62-62c2bd0c5d7a" providerId="ADAL" clId="{A74CE6AC-85A9-44D8-9E8B-AC2EA3D9306F}" dt="2023-04-25T11:14:21.098" v="110" actId="14100"/>
        <pc:sldMkLst>
          <pc:docMk/>
          <pc:sldMk cId="3805528938" sldId="693"/>
        </pc:sldMkLst>
        <pc:spChg chg="add mod">
          <ac:chgData name="Priyesh Matabal" userId="65a93131-450f-485b-af62-62c2bd0c5d7a" providerId="ADAL" clId="{A74CE6AC-85A9-44D8-9E8B-AC2EA3D9306F}" dt="2023-04-25T11:14:21.098" v="110" actId="14100"/>
          <ac:spMkLst>
            <pc:docMk/>
            <pc:sldMk cId="3805528938" sldId="693"/>
            <ac:spMk id="6" creationId="{E1D26A37-B152-6765-CCC2-025198F5EEA5}"/>
          </ac:spMkLst>
        </pc:spChg>
        <pc:picChg chg="add mod">
          <ac:chgData name="Priyesh Matabal" userId="65a93131-450f-485b-af62-62c2bd0c5d7a" providerId="ADAL" clId="{A74CE6AC-85A9-44D8-9E8B-AC2EA3D9306F}" dt="2023-04-25T11:09:48.748" v="6" actId="14100"/>
          <ac:picMkLst>
            <pc:docMk/>
            <pc:sldMk cId="3805528938" sldId="693"/>
            <ac:picMk id="5" creationId="{F149ADEF-DB7C-C552-B488-3BF56095B0AA}"/>
          </ac:picMkLst>
        </pc:picChg>
      </pc:sldChg>
      <pc:sldChg chg="addSp modSp new mod">
        <pc:chgData name="Priyesh Matabal" userId="65a93131-450f-485b-af62-62c2bd0c5d7a" providerId="ADAL" clId="{A74CE6AC-85A9-44D8-9E8B-AC2EA3D9306F}" dt="2023-04-25T11:13:50.409" v="102" actId="20577"/>
        <pc:sldMkLst>
          <pc:docMk/>
          <pc:sldMk cId="2626235763" sldId="694"/>
        </pc:sldMkLst>
        <pc:spChg chg="add mod">
          <ac:chgData name="Priyesh Matabal" userId="65a93131-450f-485b-af62-62c2bd0c5d7a" providerId="ADAL" clId="{A74CE6AC-85A9-44D8-9E8B-AC2EA3D9306F}" dt="2023-04-25T11:13:50.409" v="102" actId="20577"/>
          <ac:spMkLst>
            <pc:docMk/>
            <pc:sldMk cId="2626235763" sldId="694"/>
            <ac:spMk id="6" creationId="{44EC02B9-F4BB-35C3-D07D-441C36D872A5}"/>
          </ac:spMkLst>
        </pc:spChg>
        <pc:picChg chg="add mod">
          <ac:chgData name="Priyesh Matabal" userId="65a93131-450f-485b-af62-62c2bd0c5d7a" providerId="ADAL" clId="{A74CE6AC-85A9-44D8-9E8B-AC2EA3D9306F}" dt="2023-04-25T11:10:31.096" v="10" actId="14100"/>
          <ac:picMkLst>
            <pc:docMk/>
            <pc:sldMk cId="2626235763" sldId="694"/>
            <ac:picMk id="5" creationId="{C750E126-8415-F51E-7CE2-B6F179E53252}"/>
          </ac:picMkLst>
        </pc:picChg>
      </pc:sldChg>
      <pc:sldChg chg="addSp modSp new mod">
        <pc:chgData name="Priyesh Matabal" userId="65a93131-450f-485b-af62-62c2bd0c5d7a" providerId="ADAL" clId="{A74CE6AC-85A9-44D8-9E8B-AC2EA3D9306F}" dt="2023-04-25T11:13:10.572" v="40" actId="1076"/>
        <pc:sldMkLst>
          <pc:docMk/>
          <pc:sldMk cId="2707225674" sldId="695"/>
        </pc:sldMkLst>
        <pc:spChg chg="add mod">
          <ac:chgData name="Priyesh Matabal" userId="65a93131-450f-485b-af62-62c2bd0c5d7a" providerId="ADAL" clId="{A74CE6AC-85A9-44D8-9E8B-AC2EA3D9306F}" dt="2023-04-25T11:13:10.572" v="40" actId="1076"/>
          <ac:spMkLst>
            <pc:docMk/>
            <pc:sldMk cId="2707225674" sldId="695"/>
            <ac:spMk id="6" creationId="{84B49CCA-5FAF-299F-D73E-03A29BB37AAD}"/>
          </ac:spMkLst>
        </pc:spChg>
        <pc:picChg chg="add mod">
          <ac:chgData name="Priyesh Matabal" userId="65a93131-450f-485b-af62-62c2bd0c5d7a" providerId="ADAL" clId="{A74CE6AC-85A9-44D8-9E8B-AC2EA3D9306F}" dt="2023-04-25T11:13:00.283" v="38" actId="1076"/>
          <ac:picMkLst>
            <pc:docMk/>
            <pc:sldMk cId="2707225674" sldId="695"/>
            <ac:picMk id="5" creationId="{3B245E08-B38B-527A-A1A8-B8FAFA1CE85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3A8827-11DB-426E-9DDB-34C55F3A6A80}" type="datetimeFigureOut">
              <a:rPr lang="en-GB" smtClean="0"/>
              <a:t>08/08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2D2056-07B8-4A73-BBE7-3587376430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5281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70C3F-EC2B-4FA5-B506-2553A1261055}" type="datetimeFigureOut">
              <a:rPr lang="en-GB" noProof="0" smtClean="0"/>
              <a:t>08/08/2023</a:t>
            </a:fld>
            <a:endParaRPr lang="en-GB" noProof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879007-2B40-4A6F-A404-29C5834DF7F6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22375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879007-2B40-4A6F-A404-29C5834DF7F6}" type="slidenum">
              <a:rPr lang="en-GB" noProof="0" smtClean="0"/>
              <a:t>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24847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4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Text Only" preserve="1" userDrawn="1">
  <p:cSld name="Title Slide - Text Only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xtDate"/>
          <p:cNvSpPr txBox="1"/>
          <p:nvPr>
            <p:custDataLst>
              <p:tags r:id="rId2"/>
            </p:custDataLst>
          </p:nvPr>
        </p:nvSpPr>
        <p:spPr bwMode="gray">
          <a:xfrm>
            <a:off x="431800" y="5976395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050" noProof="0">
                <a:solidFill>
                  <a:schemeClr val="tx2"/>
                </a:solidFill>
                <a:latin typeface="+mj-lt"/>
              </a:rPr>
              <a:t>01.02.2023</a:t>
            </a: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" name="txtFooter3"/>
          <p:cNvSpPr txBox="1"/>
          <p:nvPr>
            <p:custDataLst>
              <p:tags r:id="rId3"/>
            </p:custDataLst>
          </p:nvPr>
        </p:nvSpPr>
        <p:spPr bwMode="gray">
          <a:xfrm>
            <a:off x="431800" y="6133240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" name="txtFooter2"/>
          <p:cNvSpPr txBox="1"/>
          <p:nvPr>
            <p:custDataLst>
              <p:tags r:id="rId4"/>
            </p:custDataLst>
          </p:nvPr>
        </p:nvSpPr>
        <p:spPr bwMode="gray">
          <a:xfrm>
            <a:off x="431800" y="5976395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2" name="txtFooter1"/>
          <p:cNvSpPr txBox="1"/>
          <p:nvPr>
            <p:custDataLst>
              <p:tags r:id="rId5"/>
            </p:custDataLst>
          </p:nvPr>
        </p:nvSpPr>
        <p:spPr bwMode="gray">
          <a:xfrm>
            <a:off x="431800" y="5819550"/>
            <a:ext cx="5664200" cy="1600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050" noProof="0">
                <a:solidFill>
                  <a:schemeClr val="tx2"/>
                </a:solidFill>
                <a:latin typeface="+mj-lt"/>
              </a:rPr>
              <a:t>Greg Crymble</a:t>
            </a: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431800" y="3312458"/>
            <a:ext cx="5664200" cy="2096761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00" b="0" cap="none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Title Placeholder"/>
          <p:cNvSpPr>
            <a:spLocks noGrp="1"/>
          </p:cNvSpPr>
          <p:nvPr>
            <p:ph type="ctrTitle"/>
          </p:nvPr>
        </p:nvSpPr>
        <p:spPr bwMode="gray">
          <a:xfrm>
            <a:off x="431800" y="431800"/>
            <a:ext cx="7932452" cy="271365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grpSp>
        <p:nvGrpSpPr>
          <p:cNvPr id="4" name="RightArea">
            <a:extLst>
              <a:ext uri="{FF2B5EF4-FFF2-40B4-BE49-F238E27FC236}">
                <a16:creationId xmlns:a16="http://schemas.microsoft.com/office/drawing/2014/main" id="{2AB13E04-5594-4B7E-A8C1-9F79AE92D525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8616280" y="215848"/>
            <a:ext cx="3575720" cy="6642152"/>
            <a:chOff x="8616280" y="215848"/>
            <a:chExt cx="3575720" cy="6642152"/>
          </a:xfrm>
        </p:grpSpPr>
        <p:sp>
          <p:nvSpPr>
            <p:cNvPr id="18" name="BadgeOutline">
              <a:extLst>
                <a:ext uri="{FF2B5EF4-FFF2-40B4-BE49-F238E27FC236}">
                  <a16:creationId xmlns:a16="http://schemas.microsoft.com/office/drawing/2014/main" id="{C2F29524-BD6E-45AA-BCB2-2960D38AC907}"/>
                </a:ext>
              </a:extLst>
            </p:cNvPr>
            <p:cNvSpPr/>
            <p:nvPr/>
          </p:nvSpPr>
          <p:spPr bwMode="gray">
            <a:xfrm>
              <a:off x="8616280" y="2564904"/>
              <a:ext cx="3575720" cy="4293096"/>
            </a:xfrm>
            <a:custGeom>
              <a:avLst/>
              <a:gdLst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34546 h 4293096"/>
                <a:gd name="connsiteX17" fmla="*/ 18798 w 3575720"/>
                <a:gd name="connsiteY17" fmla="*/ 4293096 h 4293096"/>
                <a:gd name="connsiteX18" fmla="*/ 5903 w 3575720"/>
                <a:gd name="connsiteY18" fmla="*/ 4293096 h 4293096"/>
                <a:gd name="connsiteX19" fmla="*/ 0 w 3575720"/>
                <a:gd name="connsiteY19" fmla="*/ 4234546 h 4293096"/>
                <a:gd name="connsiteX20" fmla="*/ 0 w 3575720"/>
                <a:gd name="connsiteY20" fmla="*/ 876091 h 4293096"/>
                <a:gd name="connsiteX21" fmla="*/ 876091 w 3575720"/>
                <a:gd name="connsiteY21" fmla="*/ 0 h 429309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34546 h 4293096"/>
                <a:gd name="connsiteX17" fmla="*/ 18798 w 3575720"/>
                <a:gd name="connsiteY17" fmla="*/ 4293096 h 4293096"/>
                <a:gd name="connsiteX18" fmla="*/ 0 w 3575720"/>
                <a:gd name="connsiteY18" fmla="*/ 4234546 h 4293096"/>
                <a:gd name="connsiteX19" fmla="*/ 0 w 3575720"/>
                <a:gd name="connsiteY19" fmla="*/ 876091 h 4293096"/>
                <a:gd name="connsiteX20" fmla="*/ 876091 w 3575720"/>
                <a:gd name="connsiteY20" fmla="*/ 0 h 4293096"/>
                <a:gd name="connsiteX0" fmla="*/ 2555383 w 3575720"/>
                <a:gd name="connsiteY0" fmla="*/ 2312504 h 4234546"/>
                <a:gd name="connsiteX1" fmla="*/ 3575720 w 3575720"/>
                <a:gd name="connsiteY1" fmla="*/ 2312504 h 4234546"/>
                <a:gd name="connsiteX2" fmla="*/ 3575720 w 3575720"/>
                <a:gd name="connsiteY2" fmla="*/ 2325253 h 4234546"/>
                <a:gd name="connsiteX3" fmla="*/ 2555383 w 3575720"/>
                <a:gd name="connsiteY3" fmla="*/ 2325253 h 4234546"/>
                <a:gd name="connsiteX4" fmla="*/ 2325382 w 3575720"/>
                <a:gd name="connsiteY4" fmla="*/ 2555254 h 4234546"/>
                <a:gd name="connsiteX5" fmla="*/ 2555383 w 3575720"/>
                <a:gd name="connsiteY5" fmla="*/ 2785255 h 4234546"/>
                <a:gd name="connsiteX6" fmla="*/ 3575720 w 3575720"/>
                <a:gd name="connsiteY6" fmla="*/ 2785255 h 4234546"/>
                <a:gd name="connsiteX7" fmla="*/ 3575720 w 3575720"/>
                <a:gd name="connsiteY7" fmla="*/ 2798262 h 4234546"/>
                <a:gd name="connsiteX8" fmla="*/ 2555383 w 3575720"/>
                <a:gd name="connsiteY8" fmla="*/ 2798262 h 4234546"/>
                <a:gd name="connsiteX9" fmla="*/ 2312504 w 3575720"/>
                <a:gd name="connsiteY9" fmla="*/ 2555383 h 4234546"/>
                <a:gd name="connsiteX10" fmla="*/ 2555383 w 3575720"/>
                <a:gd name="connsiteY10" fmla="*/ 2312504 h 4234546"/>
                <a:gd name="connsiteX11" fmla="*/ 876091 w 3575720"/>
                <a:gd name="connsiteY11" fmla="*/ 0 h 4234546"/>
                <a:gd name="connsiteX12" fmla="*/ 3575720 w 3575720"/>
                <a:gd name="connsiteY12" fmla="*/ 0 h 4234546"/>
                <a:gd name="connsiteX13" fmla="*/ 3575720 w 3575720"/>
                <a:gd name="connsiteY13" fmla="*/ 12878 h 4234546"/>
                <a:gd name="connsiteX14" fmla="*/ 876091 w 3575720"/>
                <a:gd name="connsiteY14" fmla="*/ 12878 h 4234546"/>
                <a:gd name="connsiteX15" fmla="*/ 12878 w 3575720"/>
                <a:gd name="connsiteY15" fmla="*/ 876091 h 4234546"/>
                <a:gd name="connsiteX16" fmla="*/ 12878 w 3575720"/>
                <a:gd name="connsiteY16" fmla="*/ 4234546 h 4234546"/>
                <a:gd name="connsiteX17" fmla="*/ 0 w 3575720"/>
                <a:gd name="connsiteY17" fmla="*/ 4234546 h 4234546"/>
                <a:gd name="connsiteX18" fmla="*/ 0 w 3575720"/>
                <a:gd name="connsiteY18" fmla="*/ 876091 h 4234546"/>
                <a:gd name="connsiteX19" fmla="*/ 876091 w 3575720"/>
                <a:gd name="connsiteY19" fmla="*/ 0 h 423454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93096 h 4293096"/>
                <a:gd name="connsiteX17" fmla="*/ 0 w 3575720"/>
                <a:gd name="connsiteY17" fmla="*/ 4234546 h 4293096"/>
                <a:gd name="connsiteX18" fmla="*/ 0 w 3575720"/>
                <a:gd name="connsiteY18" fmla="*/ 876091 h 4293096"/>
                <a:gd name="connsiteX19" fmla="*/ 876091 w 3575720"/>
                <a:gd name="connsiteY19" fmla="*/ 0 h 429309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93096 h 4293096"/>
                <a:gd name="connsiteX17" fmla="*/ 0 w 3575720"/>
                <a:gd name="connsiteY17" fmla="*/ 4293096 h 4293096"/>
                <a:gd name="connsiteX18" fmla="*/ 0 w 3575720"/>
                <a:gd name="connsiteY18" fmla="*/ 876091 h 4293096"/>
                <a:gd name="connsiteX19" fmla="*/ 876091 w 3575720"/>
                <a:gd name="connsiteY19" fmla="*/ 0 h 4293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75720" h="4293096">
                  <a:moveTo>
                    <a:pt x="2555383" y="2312504"/>
                  </a:moveTo>
                  <a:lnTo>
                    <a:pt x="3575720" y="2312504"/>
                  </a:lnTo>
                  <a:lnTo>
                    <a:pt x="3575720" y="2325253"/>
                  </a:lnTo>
                  <a:lnTo>
                    <a:pt x="2555383" y="2325253"/>
                  </a:lnTo>
                  <a:cubicBezTo>
                    <a:pt x="2428406" y="2325253"/>
                    <a:pt x="2325382" y="2428277"/>
                    <a:pt x="2325382" y="2555254"/>
                  </a:cubicBezTo>
                  <a:cubicBezTo>
                    <a:pt x="2325382" y="2682231"/>
                    <a:pt x="2428406" y="2785255"/>
                    <a:pt x="2555383" y="2785255"/>
                  </a:cubicBezTo>
                  <a:lnTo>
                    <a:pt x="3575720" y="2785255"/>
                  </a:lnTo>
                  <a:lnTo>
                    <a:pt x="3575720" y="2798262"/>
                  </a:lnTo>
                  <a:lnTo>
                    <a:pt x="2555383" y="2798262"/>
                  </a:lnTo>
                  <a:cubicBezTo>
                    <a:pt x="2421451" y="2798262"/>
                    <a:pt x="2312504" y="2689314"/>
                    <a:pt x="2312504" y="2555383"/>
                  </a:cubicBezTo>
                  <a:cubicBezTo>
                    <a:pt x="2312504" y="2421451"/>
                    <a:pt x="2421451" y="2312504"/>
                    <a:pt x="2555383" y="2312504"/>
                  </a:cubicBezTo>
                  <a:close/>
                  <a:moveTo>
                    <a:pt x="876091" y="0"/>
                  </a:moveTo>
                  <a:lnTo>
                    <a:pt x="3575720" y="0"/>
                  </a:lnTo>
                  <a:lnTo>
                    <a:pt x="3575720" y="12878"/>
                  </a:lnTo>
                  <a:lnTo>
                    <a:pt x="876091" y="12878"/>
                  </a:lnTo>
                  <a:cubicBezTo>
                    <a:pt x="400120" y="12878"/>
                    <a:pt x="12878" y="400120"/>
                    <a:pt x="12878" y="876091"/>
                  </a:cubicBezTo>
                  <a:lnTo>
                    <a:pt x="12878" y="4293096"/>
                  </a:lnTo>
                  <a:lnTo>
                    <a:pt x="0" y="4293096"/>
                  </a:lnTo>
                  <a:lnTo>
                    <a:pt x="0" y="876091"/>
                  </a:lnTo>
                  <a:cubicBezTo>
                    <a:pt x="0" y="392264"/>
                    <a:pt x="392264" y="0"/>
                    <a:pt x="876091" y="0"/>
                  </a:cubicBezTo>
                  <a:close/>
                </a:path>
              </a:pathLst>
            </a:custGeom>
            <a:solidFill>
              <a:schemeClr val="tx2"/>
            </a:solidFill>
            <a:ln w="12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19" name="Logo">
              <a:extLst>
                <a:ext uri="{FF2B5EF4-FFF2-40B4-BE49-F238E27FC236}">
                  <a16:creationId xmlns:a16="http://schemas.microsoft.com/office/drawing/2014/main" id="{A98F0AA3-03C2-4165-B1A7-D916104FE76A}"/>
                </a:ext>
              </a:extLst>
            </p:cNvPr>
            <p:cNvSpPr/>
            <p:nvPr/>
          </p:nvSpPr>
          <p:spPr bwMode="gray">
            <a:xfrm>
              <a:off x="10177458" y="215848"/>
              <a:ext cx="1798344" cy="419950"/>
            </a:xfrm>
            <a:custGeom>
              <a:avLst/>
              <a:gdLst>
                <a:gd name="connsiteX0" fmla="*/ 1015493 w 1798344"/>
                <a:gd name="connsiteY0" fmla="*/ 267913 h 419950"/>
                <a:gd name="connsiteX1" fmla="*/ 988878 w 1798344"/>
                <a:gd name="connsiteY1" fmla="*/ 332853 h 419950"/>
                <a:gd name="connsiteX2" fmla="*/ 1042105 w 1798344"/>
                <a:gd name="connsiteY2" fmla="*/ 332853 h 419950"/>
                <a:gd name="connsiteX3" fmla="*/ 468589 w 1798344"/>
                <a:gd name="connsiteY3" fmla="*/ 267913 h 419950"/>
                <a:gd name="connsiteX4" fmla="*/ 441977 w 1798344"/>
                <a:gd name="connsiteY4" fmla="*/ 332853 h 419950"/>
                <a:gd name="connsiteX5" fmla="*/ 495204 w 1798344"/>
                <a:gd name="connsiteY5" fmla="*/ 332853 h 419950"/>
                <a:gd name="connsiteX6" fmla="*/ 652079 w 1798344"/>
                <a:gd name="connsiteY6" fmla="*/ 256195 h 419950"/>
                <a:gd name="connsiteX7" fmla="*/ 652079 w 1798344"/>
                <a:gd name="connsiteY7" fmla="*/ 313624 h 419950"/>
                <a:gd name="connsiteX8" fmla="*/ 696645 w 1798344"/>
                <a:gd name="connsiteY8" fmla="*/ 313624 h 419950"/>
                <a:gd name="connsiteX9" fmla="*/ 730390 w 1798344"/>
                <a:gd name="connsiteY9" fmla="*/ 285356 h 419950"/>
                <a:gd name="connsiteX10" fmla="*/ 730518 w 1798344"/>
                <a:gd name="connsiteY10" fmla="*/ 285356 h 419950"/>
                <a:gd name="connsiteX11" fmla="*/ 730518 w 1798344"/>
                <a:gd name="connsiteY11" fmla="*/ 284720 h 419950"/>
                <a:gd name="connsiteX12" fmla="*/ 695881 w 1798344"/>
                <a:gd name="connsiteY12" fmla="*/ 256195 h 419950"/>
                <a:gd name="connsiteX13" fmla="*/ 218759 w 1798344"/>
                <a:gd name="connsiteY13" fmla="*/ 216596 h 419950"/>
                <a:gd name="connsiteX14" fmla="*/ 262818 w 1798344"/>
                <a:gd name="connsiteY14" fmla="*/ 216596 h 419950"/>
                <a:gd name="connsiteX15" fmla="*/ 262818 w 1798344"/>
                <a:gd name="connsiteY15" fmla="*/ 376656 h 419950"/>
                <a:gd name="connsiteX16" fmla="*/ 337944 w 1798344"/>
                <a:gd name="connsiteY16" fmla="*/ 376656 h 419950"/>
                <a:gd name="connsiteX17" fmla="*/ 337944 w 1798344"/>
                <a:gd name="connsiteY17" fmla="*/ 416638 h 419950"/>
                <a:gd name="connsiteX18" fmla="*/ 218759 w 1798344"/>
                <a:gd name="connsiteY18" fmla="*/ 416638 h 419950"/>
                <a:gd name="connsiteX19" fmla="*/ 1374576 w 1798344"/>
                <a:gd name="connsiteY19" fmla="*/ 216467 h 419950"/>
                <a:gd name="connsiteX20" fmla="*/ 1540365 w 1798344"/>
                <a:gd name="connsiteY20" fmla="*/ 216467 h 419950"/>
                <a:gd name="connsiteX21" fmla="*/ 1540365 w 1798344"/>
                <a:gd name="connsiteY21" fmla="*/ 257088 h 419950"/>
                <a:gd name="connsiteX22" fmla="*/ 1479499 w 1798344"/>
                <a:gd name="connsiteY22" fmla="*/ 257088 h 419950"/>
                <a:gd name="connsiteX23" fmla="*/ 1479499 w 1798344"/>
                <a:gd name="connsiteY23" fmla="*/ 416637 h 419950"/>
                <a:gd name="connsiteX24" fmla="*/ 1435440 w 1798344"/>
                <a:gd name="connsiteY24" fmla="*/ 416637 h 419950"/>
                <a:gd name="connsiteX25" fmla="*/ 1435440 w 1798344"/>
                <a:gd name="connsiteY25" fmla="*/ 257088 h 419950"/>
                <a:gd name="connsiteX26" fmla="*/ 1374576 w 1798344"/>
                <a:gd name="connsiteY26" fmla="*/ 257088 h 419950"/>
                <a:gd name="connsiteX27" fmla="*/ 1155049 w 1798344"/>
                <a:gd name="connsiteY27" fmla="*/ 216467 h 419950"/>
                <a:gd name="connsiteX28" fmla="*/ 1195670 w 1798344"/>
                <a:gd name="connsiteY28" fmla="*/ 216467 h 419950"/>
                <a:gd name="connsiteX29" fmla="*/ 1289389 w 1798344"/>
                <a:gd name="connsiteY29" fmla="*/ 339729 h 419950"/>
                <a:gd name="connsiteX30" fmla="*/ 1289389 w 1798344"/>
                <a:gd name="connsiteY30" fmla="*/ 216467 h 419950"/>
                <a:gd name="connsiteX31" fmla="*/ 1332937 w 1798344"/>
                <a:gd name="connsiteY31" fmla="*/ 216467 h 419950"/>
                <a:gd name="connsiteX32" fmla="*/ 1332937 w 1798344"/>
                <a:gd name="connsiteY32" fmla="*/ 416637 h 419950"/>
                <a:gd name="connsiteX33" fmla="*/ 1295373 w 1798344"/>
                <a:gd name="connsiteY33" fmla="*/ 416637 h 419950"/>
                <a:gd name="connsiteX34" fmla="*/ 1198472 w 1798344"/>
                <a:gd name="connsiteY34" fmla="*/ 289430 h 419950"/>
                <a:gd name="connsiteX35" fmla="*/ 1198472 w 1798344"/>
                <a:gd name="connsiteY35" fmla="*/ 416637 h 419950"/>
                <a:gd name="connsiteX36" fmla="*/ 1155049 w 1798344"/>
                <a:gd name="connsiteY36" fmla="*/ 416637 h 419950"/>
                <a:gd name="connsiteX37" fmla="*/ 831111 w 1798344"/>
                <a:gd name="connsiteY37" fmla="*/ 216467 h 419950"/>
                <a:gd name="connsiteX38" fmla="*/ 875170 w 1798344"/>
                <a:gd name="connsiteY38" fmla="*/ 216467 h 419950"/>
                <a:gd name="connsiteX39" fmla="*/ 875170 w 1798344"/>
                <a:gd name="connsiteY39" fmla="*/ 416637 h 419950"/>
                <a:gd name="connsiteX40" fmla="*/ 831111 w 1798344"/>
                <a:gd name="connsiteY40" fmla="*/ 416637 h 419950"/>
                <a:gd name="connsiteX41" fmla="*/ 608149 w 1798344"/>
                <a:gd name="connsiteY41" fmla="*/ 216467 h 419950"/>
                <a:gd name="connsiteX42" fmla="*/ 699576 w 1798344"/>
                <a:gd name="connsiteY42" fmla="*/ 216467 h 419950"/>
                <a:gd name="connsiteX43" fmla="*/ 775084 w 1798344"/>
                <a:gd name="connsiteY43" fmla="*/ 282554 h 419950"/>
                <a:gd name="connsiteX44" fmla="*/ 775084 w 1798344"/>
                <a:gd name="connsiteY44" fmla="*/ 283192 h 419950"/>
                <a:gd name="connsiteX45" fmla="*/ 732172 w 1798344"/>
                <a:gd name="connsiteY45" fmla="*/ 345202 h 419950"/>
                <a:gd name="connsiteX46" fmla="*/ 781197 w 1798344"/>
                <a:gd name="connsiteY46" fmla="*/ 416637 h 419950"/>
                <a:gd name="connsiteX47" fmla="*/ 729754 w 1798344"/>
                <a:gd name="connsiteY47" fmla="*/ 416637 h 419950"/>
                <a:gd name="connsiteX48" fmla="*/ 686842 w 1798344"/>
                <a:gd name="connsiteY48" fmla="*/ 352589 h 419950"/>
                <a:gd name="connsiteX49" fmla="*/ 652208 w 1798344"/>
                <a:gd name="connsiteY49" fmla="*/ 352589 h 419950"/>
                <a:gd name="connsiteX50" fmla="*/ 652208 w 1798344"/>
                <a:gd name="connsiteY50" fmla="*/ 416637 h 419950"/>
                <a:gd name="connsiteX51" fmla="*/ 608149 w 1798344"/>
                <a:gd name="connsiteY51" fmla="*/ 416637 h 419950"/>
                <a:gd name="connsiteX52" fmla="*/ 995754 w 1798344"/>
                <a:gd name="connsiteY52" fmla="*/ 215068 h 419950"/>
                <a:gd name="connsiteX53" fmla="*/ 1036375 w 1798344"/>
                <a:gd name="connsiteY53" fmla="*/ 215068 h 419950"/>
                <a:gd name="connsiteX54" fmla="*/ 1122326 w 1798344"/>
                <a:gd name="connsiteY54" fmla="*/ 416638 h 419950"/>
                <a:gd name="connsiteX55" fmla="*/ 1076232 w 1798344"/>
                <a:gd name="connsiteY55" fmla="*/ 416638 h 419950"/>
                <a:gd name="connsiteX56" fmla="*/ 1057896 w 1798344"/>
                <a:gd name="connsiteY56" fmla="*/ 371689 h 419950"/>
                <a:gd name="connsiteX57" fmla="*/ 973216 w 1798344"/>
                <a:gd name="connsiteY57" fmla="*/ 371689 h 419950"/>
                <a:gd name="connsiteX58" fmla="*/ 954880 w 1798344"/>
                <a:gd name="connsiteY58" fmla="*/ 416638 h 419950"/>
                <a:gd name="connsiteX59" fmla="*/ 909932 w 1798344"/>
                <a:gd name="connsiteY59" fmla="*/ 416638 h 419950"/>
                <a:gd name="connsiteX60" fmla="*/ 446561 w 1798344"/>
                <a:gd name="connsiteY60" fmla="*/ 215068 h 419950"/>
                <a:gd name="connsiteX61" fmla="*/ 489474 w 1798344"/>
                <a:gd name="connsiteY61" fmla="*/ 215068 h 419950"/>
                <a:gd name="connsiteX62" fmla="*/ 575297 w 1798344"/>
                <a:gd name="connsiteY62" fmla="*/ 416638 h 419950"/>
                <a:gd name="connsiteX63" fmla="*/ 529328 w 1798344"/>
                <a:gd name="connsiteY63" fmla="*/ 416638 h 419950"/>
                <a:gd name="connsiteX64" fmla="*/ 510992 w 1798344"/>
                <a:gd name="connsiteY64" fmla="*/ 371689 h 419950"/>
                <a:gd name="connsiteX65" fmla="*/ 426315 w 1798344"/>
                <a:gd name="connsiteY65" fmla="*/ 371689 h 419950"/>
                <a:gd name="connsiteX66" fmla="*/ 407979 w 1798344"/>
                <a:gd name="connsiteY66" fmla="*/ 416638 h 419950"/>
                <a:gd name="connsiteX67" fmla="*/ 363031 w 1798344"/>
                <a:gd name="connsiteY67" fmla="*/ 416638 h 419950"/>
                <a:gd name="connsiteX68" fmla="*/ 104415 w 1798344"/>
                <a:gd name="connsiteY68" fmla="*/ 213029 h 419950"/>
                <a:gd name="connsiteX69" fmla="*/ 183362 w 1798344"/>
                <a:gd name="connsiteY69" fmla="*/ 243846 h 419950"/>
                <a:gd name="connsiteX70" fmla="*/ 155347 w 1798344"/>
                <a:gd name="connsiteY70" fmla="*/ 276188 h 419950"/>
                <a:gd name="connsiteX71" fmla="*/ 104159 w 1798344"/>
                <a:gd name="connsiteY71" fmla="*/ 253650 h 419950"/>
                <a:gd name="connsiteX72" fmla="*/ 46094 w 1798344"/>
                <a:gd name="connsiteY72" fmla="*/ 315916 h 419950"/>
                <a:gd name="connsiteX73" fmla="*/ 46094 w 1798344"/>
                <a:gd name="connsiteY73" fmla="*/ 316552 h 419950"/>
                <a:gd name="connsiteX74" fmla="*/ 104033 w 1798344"/>
                <a:gd name="connsiteY74" fmla="*/ 379329 h 419950"/>
                <a:gd name="connsiteX75" fmla="*/ 156621 w 1798344"/>
                <a:gd name="connsiteY75" fmla="*/ 355898 h 419950"/>
                <a:gd name="connsiteX76" fmla="*/ 184636 w 1798344"/>
                <a:gd name="connsiteY76" fmla="*/ 384167 h 419950"/>
                <a:gd name="connsiteX77" fmla="*/ 102631 w 1798344"/>
                <a:gd name="connsiteY77" fmla="*/ 419950 h 419950"/>
                <a:gd name="connsiteX78" fmla="*/ 0 w 1798344"/>
                <a:gd name="connsiteY78" fmla="*/ 317062 h 419950"/>
                <a:gd name="connsiteX79" fmla="*/ 0 w 1798344"/>
                <a:gd name="connsiteY79" fmla="*/ 316552 h 419950"/>
                <a:gd name="connsiteX80" fmla="*/ 104415 w 1798344"/>
                <a:gd name="connsiteY80" fmla="*/ 213029 h 419950"/>
                <a:gd name="connsiteX81" fmla="*/ 1617913 w 1798344"/>
                <a:gd name="connsiteY81" fmla="*/ 0 h 419950"/>
                <a:gd name="connsiteX82" fmla="*/ 1798344 w 1798344"/>
                <a:gd name="connsiteY82" fmla="*/ 0 h 419950"/>
                <a:gd name="connsiteX83" fmla="*/ 1798344 w 1798344"/>
                <a:gd name="connsiteY83" fmla="*/ 95247 h 419950"/>
                <a:gd name="connsiteX84" fmla="*/ 1690111 w 1798344"/>
                <a:gd name="connsiteY84" fmla="*/ 95247 h 419950"/>
                <a:gd name="connsiteX85" fmla="*/ 1677123 w 1798344"/>
                <a:gd name="connsiteY85" fmla="*/ 108235 h 419950"/>
                <a:gd name="connsiteX86" fmla="*/ 1690111 w 1798344"/>
                <a:gd name="connsiteY86" fmla="*/ 121224 h 419950"/>
                <a:gd name="connsiteX87" fmla="*/ 1798344 w 1798344"/>
                <a:gd name="connsiteY87" fmla="*/ 121224 h 419950"/>
                <a:gd name="connsiteX88" fmla="*/ 1798344 w 1798344"/>
                <a:gd name="connsiteY88" fmla="*/ 216468 h 419950"/>
                <a:gd name="connsiteX89" fmla="*/ 1617913 w 1798344"/>
                <a:gd name="connsiteY89" fmla="*/ 216468 h 419950"/>
                <a:gd name="connsiteX90" fmla="*/ 1581876 w 1798344"/>
                <a:gd name="connsiteY90" fmla="*/ 180434 h 419950"/>
                <a:gd name="connsiteX91" fmla="*/ 1581876 w 1798344"/>
                <a:gd name="connsiteY91" fmla="*/ 36037 h 419950"/>
                <a:gd name="connsiteX92" fmla="*/ 1617913 w 1798344"/>
                <a:gd name="connsiteY92" fmla="*/ 0 h 41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798344" h="419950">
                  <a:moveTo>
                    <a:pt x="1015493" y="267913"/>
                  </a:moveTo>
                  <a:lnTo>
                    <a:pt x="988878" y="332853"/>
                  </a:lnTo>
                  <a:lnTo>
                    <a:pt x="1042105" y="332853"/>
                  </a:lnTo>
                  <a:close/>
                  <a:moveTo>
                    <a:pt x="468589" y="267913"/>
                  </a:moveTo>
                  <a:lnTo>
                    <a:pt x="441977" y="332853"/>
                  </a:lnTo>
                  <a:lnTo>
                    <a:pt x="495204" y="332853"/>
                  </a:lnTo>
                  <a:close/>
                  <a:moveTo>
                    <a:pt x="652079" y="256195"/>
                  </a:moveTo>
                  <a:lnTo>
                    <a:pt x="652079" y="313624"/>
                  </a:lnTo>
                  <a:lnTo>
                    <a:pt x="696645" y="313624"/>
                  </a:lnTo>
                  <a:cubicBezTo>
                    <a:pt x="718038" y="313624"/>
                    <a:pt x="730390" y="302293"/>
                    <a:pt x="730390" y="285356"/>
                  </a:cubicBezTo>
                  <a:lnTo>
                    <a:pt x="730518" y="285356"/>
                  </a:lnTo>
                  <a:lnTo>
                    <a:pt x="730518" y="284720"/>
                  </a:lnTo>
                  <a:cubicBezTo>
                    <a:pt x="730518" y="265874"/>
                    <a:pt x="717274" y="256195"/>
                    <a:pt x="695881" y="256195"/>
                  </a:cubicBezTo>
                  <a:close/>
                  <a:moveTo>
                    <a:pt x="218759" y="216596"/>
                  </a:moveTo>
                  <a:lnTo>
                    <a:pt x="262818" y="216596"/>
                  </a:lnTo>
                  <a:lnTo>
                    <a:pt x="262818" y="376656"/>
                  </a:lnTo>
                  <a:lnTo>
                    <a:pt x="337944" y="376656"/>
                  </a:lnTo>
                  <a:lnTo>
                    <a:pt x="337944" y="416638"/>
                  </a:lnTo>
                  <a:lnTo>
                    <a:pt x="218759" y="416638"/>
                  </a:lnTo>
                  <a:close/>
                  <a:moveTo>
                    <a:pt x="1374576" y="216467"/>
                  </a:moveTo>
                  <a:lnTo>
                    <a:pt x="1540365" y="216467"/>
                  </a:lnTo>
                  <a:lnTo>
                    <a:pt x="1540365" y="257088"/>
                  </a:lnTo>
                  <a:lnTo>
                    <a:pt x="1479499" y="257088"/>
                  </a:lnTo>
                  <a:lnTo>
                    <a:pt x="1479499" y="416637"/>
                  </a:lnTo>
                  <a:lnTo>
                    <a:pt x="1435440" y="416637"/>
                  </a:lnTo>
                  <a:lnTo>
                    <a:pt x="1435440" y="257088"/>
                  </a:lnTo>
                  <a:lnTo>
                    <a:pt x="1374576" y="257088"/>
                  </a:lnTo>
                  <a:close/>
                  <a:moveTo>
                    <a:pt x="1155049" y="216467"/>
                  </a:moveTo>
                  <a:lnTo>
                    <a:pt x="1195670" y="216467"/>
                  </a:lnTo>
                  <a:lnTo>
                    <a:pt x="1289389" y="339729"/>
                  </a:lnTo>
                  <a:lnTo>
                    <a:pt x="1289389" y="216467"/>
                  </a:lnTo>
                  <a:lnTo>
                    <a:pt x="1332937" y="216467"/>
                  </a:lnTo>
                  <a:lnTo>
                    <a:pt x="1332937" y="416637"/>
                  </a:lnTo>
                  <a:lnTo>
                    <a:pt x="1295373" y="416637"/>
                  </a:lnTo>
                  <a:lnTo>
                    <a:pt x="1198472" y="289430"/>
                  </a:lnTo>
                  <a:lnTo>
                    <a:pt x="1198472" y="416637"/>
                  </a:lnTo>
                  <a:lnTo>
                    <a:pt x="1155049" y="416637"/>
                  </a:lnTo>
                  <a:close/>
                  <a:moveTo>
                    <a:pt x="831111" y="216467"/>
                  </a:moveTo>
                  <a:lnTo>
                    <a:pt x="875170" y="216467"/>
                  </a:lnTo>
                  <a:lnTo>
                    <a:pt x="875170" y="416637"/>
                  </a:lnTo>
                  <a:lnTo>
                    <a:pt x="831111" y="416637"/>
                  </a:lnTo>
                  <a:close/>
                  <a:moveTo>
                    <a:pt x="608149" y="216467"/>
                  </a:moveTo>
                  <a:lnTo>
                    <a:pt x="699576" y="216467"/>
                  </a:lnTo>
                  <a:cubicBezTo>
                    <a:pt x="746816" y="216467"/>
                    <a:pt x="775084" y="241426"/>
                    <a:pt x="775084" y="282554"/>
                  </a:cubicBezTo>
                  <a:lnTo>
                    <a:pt x="775084" y="283192"/>
                  </a:lnTo>
                  <a:cubicBezTo>
                    <a:pt x="775084" y="315534"/>
                    <a:pt x="757641" y="335780"/>
                    <a:pt x="732172" y="345202"/>
                  </a:cubicBezTo>
                  <a:lnTo>
                    <a:pt x="781197" y="416637"/>
                  </a:lnTo>
                  <a:lnTo>
                    <a:pt x="729754" y="416637"/>
                  </a:lnTo>
                  <a:lnTo>
                    <a:pt x="686842" y="352589"/>
                  </a:lnTo>
                  <a:lnTo>
                    <a:pt x="652208" y="352589"/>
                  </a:lnTo>
                  <a:lnTo>
                    <a:pt x="652208" y="416637"/>
                  </a:lnTo>
                  <a:lnTo>
                    <a:pt x="608149" y="416637"/>
                  </a:lnTo>
                  <a:close/>
                  <a:moveTo>
                    <a:pt x="995754" y="215068"/>
                  </a:moveTo>
                  <a:lnTo>
                    <a:pt x="1036375" y="215068"/>
                  </a:lnTo>
                  <a:lnTo>
                    <a:pt x="1122326" y="416638"/>
                  </a:lnTo>
                  <a:lnTo>
                    <a:pt x="1076232" y="416638"/>
                  </a:lnTo>
                  <a:lnTo>
                    <a:pt x="1057896" y="371689"/>
                  </a:lnTo>
                  <a:lnTo>
                    <a:pt x="973216" y="371689"/>
                  </a:lnTo>
                  <a:lnTo>
                    <a:pt x="954880" y="416638"/>
                  </a:lnTo>
                  <a:lnTo>
                    <a:pt x="909932" y="416638"/>
                  </a:lnTo>
                  <a:close/>
                  <a:moveTo>
                    <a:pt x="446561" y="215068"/>
                  </a:moveTo>
                  <a:lnTo>
                    <a:pt x="489474" y="215068"/>
                  </a:lnTo>
                  <a:lnTo>
                    <a:pt x="575297" y="416638"/>
                  </a:lnTo>
                  <a:lnTo>
                    <a:pt x="529328" y="416638"/>
                  </a:lnTo>
                  <a:lnTo>
                    <a:pt x="510992" y="371689"/>
                  </a:lnTo>
                  <a:lnTo>
                    <a:pt x="426315" y="371689"/>
                  </a:lnTo>
                  <a:lnTo>
                    <a:pt x="407979" y="416638"/>
                  </a:lnTo>
                  <a:lnTo>
                    <a:pt x="363031" y="416638"/>
                  </a:lnTo>
                  <a:close/>
                  <a:moveTo>
                    <a:pt x="104415" y="213029"/>
                  </a:moveTo>
                  <a:cubicBezTo>
                    <a:pt x="142234" y="213029"/>
                    <a:pt x="164772" y="225510"/>
                    <a:pt x="183362" y="243846"/>
                  </a:cubicBezTo>
                  <a:lnTo>
                    <a:pt x="155347" y="276188"/>
                  </a:lnTo>
                  <a:cubicBezTo>
                    <a:pt x="139942" y="262182"/>
                    <a:pt x="124151" y="253650"/>
                    <a:pt x="104159" y="253650"/>
                  </a:cubicBezTo>
                  <a:cubicBezTo>
                    <a:pt x="70417" y="253650"/>
                    <a:pt x="46094" y="281664"/>
                    <a:pt x="46094" y="315916"/>
                  </a:cubicBezTo>
                  <a:lnTo>
                    <a:pt x="46094" y="316552"/>
                  </a:lnTo>
                  <a:cubicBezTo>
                    <a:pt x="46094" y="350932"/>
                    <a:pt x="69778" y="379457"/>
                    <a:pt x="104033" y="379329"/>
                  </a:cubicBezTo>
                  <a:cubicBezTo>
                    <a:pt x="126825" y="379329"/>
                    <a:pt x="140831" y="370161"/>
                    <a:pt x="156621" y="355898"/>
                  </a:cubicBezTo>
                  <a:lnTo>
                    <a:pt x="184636" y="384167"/>
                  </a:lnTo>
                  <a:cubicBezTo>
                    <a:pt x="164133" y="406198"/>
                    <a:pt x="141213" y="419950"/>
                    <a:pt x="102631" y="419950"/>
                  </a:cubicBezTo>
                  <a:cubicBezTo>
                    <a:pt x="43802" y="419950"/>
                    <a:pt x="0" y="374491"/>
                    <a:pt x="0" y="317062"/>
                  </a:cubicBezTo>
                  <a:lnTo>
                    <a:pt x="0" y="316552"/>
                  </a:lnTo>
                  <a:cubicBezTo>
                    <a:pt x="0" y="259633"/>
                    <a:pt x="42913" y="213029"/>
                    <a:pt x="104415" y="213029"/>
                  </a:cubicBezTo>
                  <a:close/>
                  <a:moveTo>
                    <a:pt x="1617913" y="0"/>
                  </a:moveTo>
                  <a:lnTo>
                    <a:pt x="1798344" y="0"/>
                  </a:lnTo>
                  <a:lnTo>
                    <a:pt x="1798344" y="95247"/>
                  </a:lnTo>
                  <a:lnTo>
                    <a:pt x="1690111" y="95247"/>
                  </a:lnTo>
                  <a:cubicBezTo>
                    <a:pt x="1682979" y="95247"/>
                    <a:pt x="1677123" y="101103"/>
                    <a:pt x="1677123" y="108235"/>
                  </a:cubicBezTo>
                  <a:cubicBezTo>
                    <a:pt x="1677123" y="115365"/>
                    <a:pt x="1682979" y="121224"/>
                    <a:pt x="1690111" y="121224"/>
                  </a:cubicBezTo>
                  <a:lnTo>
                    <a:pt x="1798344" y="121224"/>
                  </a:lnTo>
                  <a:lnTo>
                    <a:pt x="1798344" y="216468"/>
                  </a:lnTo>
                  <a:lnTo>
                    <a:pt x="1617913" y="216468"/>
                  </a:lnTo>
                  <a:cubicBezTo>
                    <a:pt x="1598048" y="216468"/>
                    <a:pt x="1581876" y="200424"/>
                    <a:pt x="1581876" y="180434"/>
                  </a:cubicBezTo>
                  <a:lnTo>
                    <a:pt x="1581876" y="36037"/>
                  </a:lnTo>
                  <a:cubicBezTo>
                    <a:pt x="1581876" y="16173"/>
                    <a:pt x="1597920" y="0"/>
                    <a:pt x="1617913" y="0"/>
                  </a:cubicBezTo>
                  <a:close/>
                </a:path>
              </a:pathLst>
            </a:custGeom>
            <a:solidFill>
              <a:schemeClr val="tx2"/>
            </a:solidFill>
            <a:ln w="3040" cap="flat">
              <a:noFill/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20" name="Claim">
              <a:extLst>
                <a:ext uri="{FF2B5EF4-FFF2-40B4-BE49-F238E27FC236}">
                  <a16:creationId xmlns:a16="http://schemas.microsoft.com/office/drawing/2014/main" id="{F5444A3A-FFC8-476F-A3E1-73D80BC8E584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10411200" y="6317575"/>
              <a:ext cx="1306800" cy="130539"/>
            </a:xfrm>
            <a:custGeom>
              <a:avLst/>
              <a:gdLst>
                <a:gd name="connsiteX0" fmla="*/ 216732 w 966597"/>
                <a:gd name="connsiteY0" fmla="*/ 52435 h 96555"/>
                <a:gd name="connsiteX1" fmla="*/ 203645 w 966597"/>
                <a:gd name="connsiteY1" fmla="*/ 61627 h 96555"/>
                <a:gd name="connsiteX2" fmla="*/ 203645 w 966597"/>
                <a:gd name="connsiteY2" fmla="*/ 61846 h 96555"/>
                <a:gd name="connsiteX3" fmla="*/ 214674 w 966597"/>
                <a:gd name="connsiteY3" fmla="*/ 70275 h 96555"/>
                <a:gd name="connsiteX4" fmla="*/ 229819 w 966597"/>
                <a:gd name="connsiteY4" fmla="*/ 58274 h 96555"/>
                <a:gd name="connsiteX5" fmla="*/ 229819 w 966597"/>
                <a:gd name="connsiteY5" fmla="*/ 54712 h 96555"/>
                <a:gd name="connsiteX6" fmla="*/ 216732 w 966597"/>
                <a:gd name="connsiteY6" fmla="*/ 52435 h 96555"/>
                <a:gd name="connsiteX7" fmla="*/ 594312 w 966597"/>
                <a:gd name="connsiteY7" fmla="*/ 31356 h 96555"/>
                <a:gd name="connsiteX8" fmla="*/ 579501 w 966597"/>
                <a:gd name="connsiteY8" fmla="*/ 46387 h 96555"/>
                <a:gd name="connsiteX9" fmla="*/ 608799 w 966597"/>
                <a:gd name="connsiteY9" fmla="*/ 46387 h 96555"/>
                <a:gd name="connsiteX10" fmla="*/ 594312 w 966597"/>
                <a:gd name="connsiteY10" fmla="*/ 31356 h 96555"/>
                <a:gd name="connsiteX11" fmla="*/ 324287 w 966597"/>
                <a:gd name="connsiteY11" fmla="*/ 31356 h 96555"/>
                <a:gd name="connsiteX12" fmla="*/ 309476 w 966597"/>
                <a:gd name="connsiteY12" fmla="*/ 46387 h 96555"/>
                <a:gd name="connsiteX13" fmla="*/ 338775 w 966597"/>
                <a:gd name="connsiteY13" fmla="*/ 46387 h 96555"/>
                <a:gd name="connsiteX14" fmla="*/ 324287 w 966597"/>
                <a:gd name="connsiteY14" fmla="*/ 31356 h 96555"/>
                <a:gd name="connsiteX15" fmla="*/ 153400 w 966597"/>
                <a:gd name="connsiteY15" fmla="*/ 31356 h 96555"/>
                <a:gd name="connsiteX16" fmla="*/ 138579 w 966597"/>
                <a:gd name="connsiteY16" fmla="*/ 46387 h 96555"/>
                <a:gd name="connsiteX17" fmla="*/ 167888 w 966597"/>
                <a:gd name="connsiteY17" fmla="*/ 46387 h 96555"/>
                <a:gd name="connsiteX18" fmla="*/ 153400 w 966597"/>
                <a:gd name="connsiteY18" fmla="*/ 31356 h 96555"/>
                <a:gd name="connsiteX19" fmla="*/ 907980 w 966597"/>
                <a:gd name="connsiteY19" fmla="*/ 21841 h 96555"/>
                <a:gd name="connsiteX20" fmla="*/ 921934 w 966597"/>
                <a:gd name="connsiteY20" fmla="*/ 21841 h 96555"/>
                <a:gd name="connsiteX21" fmla="*/ 938155 w 966597"/>
                <a:gd name="connsiteY21" fmla="*/ 64227 h 96555"/>
                <a:gd name="connsiteX22" fmla="*/ 952976 w 966597"/>
                <a:gd name="connsiteY22" fmla="*/ 21841 h 96555"/>
                <a:gd name="connsiteX23" fmla="*/ 966597 w 966597"/>
                <a:gd name="connsiteY23" fmla="*/ 21841 h 96555"/>
                <a:gd name="connsiteX24" fmla="*/ 943899 w 966597"/>
                <a:gd name="connsiteY24" fmla="*/ 80553 h 96555"/>
                <a:gd name="connsiteX25" fmla="*/ 925077 w 966597"/>
                <a:gd name="connsiteY25" fmla="*/ 96555 h 96555"/>
                <a:gd name="connsiteX26" fmla="*/ 911561 w 966597"/>
                <a:gd name="connsiteY26" fmla="*/ 93098 h 96555"/>
                <a:gd name="connsiteX27" fmla="*/ 915991 w 966597"/>
                <a:gd name="connsiteY27" fmla="*/ 83363 h 96555"/>
                <a:gd name="connsiteX28" fmla="*/ 923668 w 966597"/>
                <a:gd name="connsiteY28" fmla="*/ 85525 h 96555"/>
                <a:gd name="connsiteX29" fmla="*/ 931773 w 966597"/>
                <a:gd name="connsiteY29" fmla="*/ 78934 h 96555"/>
                <a:gd name="connsiteX30" fmla="*/ 738397 w 966597"/>
                <a:gd name="connsiteY30" fmla="*/ 21841 h 96555"/>
                <a:gd name="connsiteX31" fmla="*/ 751484 w 966597"/>
                <a:gd name="connsiteY31" fmla="*/ 21841 h 96555"/>
                <a:gd name="connsiteX32" fmla="*/ 751484 w 966597"/>
                <a:gd name="connsiteY32" fmla="*/ 78934 h 96555"/>
                <a:gd name="connsiteX33" fmla="*/ 738397 w 966597"/>
                <a:gd name="connsiteY33" fmla="*/ 78934 h 96555"/>
                <a:gd name="connsiteX34" fmla="*/ 217389 w 966597"/>
                <a:gd name="connsiteY34" fmla="*/ 20974 h 96555"/>
                <a:gd name="connsiteX35" fmla="*/ 242478 w 966597"/>
                <a:gd name="connsiteY35" fmla="*/ 45091 h 96555"/>
                <a:gd name="connsiteX36" fmla="*/ 242478 w 966597"/>
                <a:gd name="connsiteY36" fmla="*/ 78934 h 96555"/>
                <a:gd name="connsiteX37" fmla="*/ 229495 w 966597"/>
                <a:gd name="connsiteY37" fmla="*/ 78934 h 96555"/>
                <a:gd name="connsiteX38" fmla="*/ 229495 w 966597"/>
                <a:gd name="connsiteY38" fmla="*/ 71904 h 96555"/>
                <a:gd name="connsiteX39" fmla="*/ 211007 w 966597"/>
                <a:gd name="connsiteY39" fmla="*/ 80124 h 96555"/>
                <a:gd name="connsiteX40" fmla="*/ 190681 w 966597"/>
                <a:gd name="connsiteY40" fmla="*/ 62503 h 96555"/>
                <a:gd name="connsiteX41" fmla="*/ 190681 w 966597"/>
                <a:gd name="connsiteY41" fmla="*/ 62293 h 96555"/>
                <a:gd name="connsiteX42" fmla="*/ 213827 w 966597"/>
                <a:gd name="connsiteY42" fmla="*/ 43910 h 96555"/>
                <a:gd name="connsiteX43" fmla="*/ 229610 w 966597"/>
                <a:gd name="connsiteY43" fmla="*/ 46282 h 96555"/>
                <a:gd name="connsiteX44" fmla="*/ 229610 w 966597"/>
                <a:gd name="connsiteY44" fmla="*/ 44882 h 96555"/>
                <a:gd name="connsiteX45" fmla="*/ 215551 w 966597"/>
                <a:gd name="connsiteY45" fmla="*/ 32661 h 96555"/>
                <a:gd name="connsiteX46" fmla="*/ 199225 w 966597"/>
                <a:gd name="connsiteY46" fmla="*/ 36233 h 96555"/>
                <a:gd name="connsiteX47" fmla="*/ 195653 w 966597"/>
                <a:gd name="connsiteY47" fmla="*/ 25737 h 96555"/>
                <a:gd name="connsiteX48" fmla="*/ 217389 w 966597"/>
                <a:gd name="connsiteY48" fmla="*/ 20974 h 96555"/>
                <a:gd name="connsiteX49" fmla="*/ 786517 w 966597"/>
                <a:gd name="connsiteY49" fmla="*/ 20879 h 96555"/>
                <a:gd name="connsiteX50" fmla="*/ 807500 w 966597"/>
                <a:gd name="connsiteY50" fmla="*/ 27366 h 96555"/>
                <a:gd name="connsiteX51" fmla="*/ 802309 w 966597"/>
                <a:gd name="connsiteY51" fmla="*/ 36662 h 96555"/>
                <a:gd name="connsiteX52" fmla="*/ 786202 w 966597"/>
                <a:gd name="connsiteY52" fmla="*/ 31252 h 96555"/>
                <a:gd name="connsiteX53" fmla="*/ 778201 w 966597"/>
                <a:gd name="connsiteY53" fmla="*/ 36986 h 96555"/>
                <a:gd name="connsiteX54" fmla="*/ 778201 w 966597"/>
                <a:gd name="connsiteY54" fmla="*/ 37195 h 96555"/>
                <a:gd name="connsiteX55" fmla="*/ 791070 w 966597"/>
                <a:gd name="connsiteY55" fmla="*/ 45196 h 96555"/>
                <a:gd name="connsiteX56" fmla="*/ 808805 w 966597"/>
                <a:gd name="connsiteY56" fmla="*/ 61846 h 96555"/>
                <a:gd name="connsiteX57" fmla="*/ 808805 w 966597"/>
                <a:gd name="connsiteY57" fmla="*/ 62065 h 96555"/>
                <a:gd name="connsiteX58" fmla="*/ 787593 w 966597"/>
                <a:gd name="connsiteY58" fmla="*/ 80020 h 96555"/>
                <a:gd name="connsiteX59" fmla="*/ 763371 w 966597"/>
                <a:gd name="connsiteY59" fmla="*/ 71476 h 96555"/>
                <a:gd name="connsiteX60" fmla="*/ 769219 w 966597"/>
                <a:gd name="connsiteY60" fmla="*/ 62608 h 96555"/>
                <a:gd name="connsiteX61" fmla="*/ 787917 w 966597"/>
                <a:gd name="connsiteY61" fmla="*/ 69637 h 96555"/>
                <a:gd name="connsiteX62" fmla="*/ 796785 w 966597"/>
                <a:gd name="connsiteY62" fmla="*/ 63475 h 96555"/>
                <a:gd name="connsiteX63" fmla="*/ 796785 w 966597"/>
                <a:gd name="connsiteY63" fmla="*/ 63256 h 96555"/>
                <a:gd name="connsiteX64" fmla="*/ 784031 w 966597"/>
                <a:gd name="connsiteY64" fmla="*/ 55255 h 96555"/>
                <a:gd name="connsiteX65" fmla="*/ 766190 w 966597"/>
                <a:gd name="connsiteY65" fmla="*/ 38500 h 96555"/>
                <a:gd name="connsiteX66" fmla="*/ 766190 w 966597"/>
                <a:gd name="connsiteY66" fmla="*/ 38281 h 96555"/>
                <a:gd name="connsiteX67" fmla="*/ 786517 w 966597"/>
                <a:gd name="connsiteY67" fmla="*/ 20879 h 96555"/>
                <a:gd name="connsiteX68" fmla="*/ 900989 w 966597"/>
                <a:gd name="connsiteY68" fmla="*/ 20764 h 96555"/>
                <a:gd name="connsiteX69" fmla="*/ 900989 w 966597"/>
                <a:gd name="connsiteY69" fmla="*/ 34604 h 96555"/>
                <a:gd name="connsiteX70" fmla="*/ 900237 w 966597"/>
                <a:gd name="connsiteY70" fmla="*/ 34604 h 96555"/>
                <a:gd name="connsiteX71" fmla="*/ 880767 w 966597"/>
                <a:gd name="connsiteY71" fmla="*/ 57197 h 96555"/>
                <a:gd name="connsiteX72" fmla="*/ 880767 w 966597"/>
                <a:gd name="connsiteY72" fmla="*/ 78933 h 96555"/>
                <a:gd name="connsiteX73" fmla="*/ 867680 w 966597"/>
                <a:gd name="connsiteY73" fmla="*/ 78933 h 96555"/>
                <a:gd name="connsiteX74" fmla="*/ 867680 w 966597"/>
                <a:gd name="connsiteY74" fmla="*/ 21840 h 96555"/>
                <a:gd name="connsiteX75" fmla="*/ 880767 w 966597"/>
                <a:gd name="connsiteY75" fmla="*/ 21840 h 96555"/>
                <a:gd name="connsiteX76" fmla="*/ 880767 w 966597"/>
                <a:gd name="connsiteY76" fmla="*/ 34718 h 96555"/>
                <a:gd name="connsiteX77" fmla="*/ 900989 w 966597"/>
                <a:gd name="connsiteY77" fmla="*/ 20764 h 96555"/>
                <a:gd name="connsiteX78" fmla="*/ 397154 w 966597"/>
                <a:gd name="connsiteY78" fmla="*/ 20764 h 96555"/>
                <a:gd name="connsiteX79" fmla="*/ 397154 w 966597"/>
                <a:gd name="connsiteY79" fmla="*/ 34604 h 96555"/>
                <a:gd name="connsiteX80" fmla="*/ 396401 w 966597"/>
                <a:gd name="connsiteY80" fmla="*/ 34604 h 96555"/>
                <a:gd name="connsiteX81" fmla="*/ 376932 w 966597"/>
                <a:gd name="connsiteY81" fmla="*/ 57197 h 96555"/>
                <a:gd name="connsiteX82" fmla="*/ 376932 w 966597"/>
                <a:gd name="connsiteY82" fmla="*/ 78933 h 96555"/>
                <a:gd name="connsiteX83" fmla="*/ 363845 w 966597"/>
                <a:gd name="connsiteY83" fmla="*/ 78933 h 96555"/>
                <a:gd name="connsiteX84" fmla="*/ 363845 w 966597"/>
                <a:gd name="connsiteY84" fmla="*/ 21840 h 96555"/>
                <a:gd name="connsiteX85" fmla="*/ 376932 w 966597"/>
                <a:gd name="connsiteY85" fmla="*/ 21840 h 96555"/>
                <a:gd name="connsiteX86" fmla="*/ 376932 w 966597"/>
                <a:gd name="connsiteY86" fmla="*/ 34718 h 96555"/>
                <a:gd name="connsiteX87" fmla="*/ 397154 w 966597"/>
                <a:gd name="connsiteY87" fmla="*/ 20764 h 96555"/>
                <a:gd name="connsiteX88" fmla="*/ 118815 w 966597"/>
                <a:gd name="connsiteY88" fmla="*/ 20764 h 96555"/>
                <a:gd name="connsiteX89" fmla="*/ 118815 w 966597"/>
                <a:gd name="connsiteY89" fmla="*/ 34604 h 96555"/>
                <a:gd name="connsiteX90" fmla="*/ 118062 w 966597"/>
                <a:gd name="connsiteY90" fmla="*/ 34604 h 96555"/>
                <a:gd name="connsiteX91" fmla="*/ 98603 w 966597"/>
                <a:gd name="connsiteY91" fmla="*/ 57197 h 96555"/>
                <a:gd name="connsiteX92" fmla="*/ 98603 w 966597"/>
                <a:gd name="connsiteY92" fmla="*/ 78933 h 96555"/>
                <a:gd name="connsiteX93" fmla="*/ 98593 w 966597"/>
                <a:gd name="connsiteY93" fmla="*/ 78933 h 96555"/>
                <a:gd name="connsiteX94" fmla="*/ 85506 w 966597"/>
                <a:gd name="connsiteY94" fmla="*/ 78933 h 96555"/>
                <a:gd name="connsiteX95" fmla="*/ 85506 w 966597"/>
                <a:gd name="connsiteY95" fmla="*/ 21840 h 96555"/>
                <a:gd name="connsiteX96" fmla="*/ 98593 w 966597"/>
                <a:gd name="connsiteY96" fmla="*/ 21840 h 96555"/>
                <a:gd name="connsiteX97" fmla="*/ 98593 w 966597"/>
                <a:gd name="connsiteY97" fmla="*/ 34718 h 96555"/>
                <a:gd name="connsiteX98" fmla="*/ 118815 w 966597"/>
                <a:gd name="connsiteY98" fmla="*/ 20764 h 96555"/>
                <a:gd name="connsiteX99" fmla="*/ 702316 w 966597"/>
                <a:gd name="connsiteY99" fmla="*/ 20650 h 96555"/>
                <a:gd name="connsiteX100" fmla="*/ 722319 w 966597"/>
                <a:gd name="connsiteY100" fmla="*/ 42491 h 96555"/>
                <a:gd name="connsiteX101" fmla="*/ 722319 w 966597"/>
                <a:gd name="connsiteY101" fmla="*/ 78933 h 96555"/>
                <a:gd name="connsiteX102" fmla="*/ 709232 w 966597"/>
                <a:gd name="connsiteY102" fmla="*/ 78933 h 96555"/>
                <a:gd name="connsiteX103" fmla="*/ 709232 w 966597"/>
                <a:gd name="connsiteY103" fmla="*/ 46491 h 96555"/>
                <a:gd name="connsiteX104" fmla="*/ 697659 w 966597"/>
                <a:gd name="connsiteY104" fmla="*/ 32537 h 96555"/>
                <a:gd name="connsiteX105" fmla="*/ 685438 w 966597"/>
                <a:gd name="connsiteY105" fmla="*/ 46710 h 96555"/>
                <a:gd name="connsiteX106" fmla="*/ 685438 w 966597"/>
                <a:gd name="connsiteY106" fmla="*/ 78933 h 96555"/>
                <a:gd name="connsiteX107" fmla="*/ 672351 w 966597"/>
                <a:gd name="connsiteY107" fmla="*/ 78933 h 96555"/>
                <a:gd name="connsiteX108" fmla="*/ 672351 w 966597"/>
                <a:gd name="connsiteY108" fmla="*/ 46387 h 96555"/>
                <a:gd name="connsiteX109" fmla="*/ 660778 w 966597"/>
                <a:gd name="connsiteY109" fmla="*/ 32547 h 96555"/>
                <a:gd name="connsiteX110" fmla="*/ 648557 w 966597"/>
                <a:gd name="connsiteY110" fmla="*/ 46825 h 96555"/>
                <a:gd name="connsiteX111" fmla="*/ 648557 w 966597"/>
                <a:gd name="connsiteY111" fmla="*/ 78943 h 96555"/>
                <a:gd name="connsiteX112" fmla="*/ 635470 w 966597"/>
                <a:gd name="connsiteY112" fmla="*/ 78943 h 96555"/>
                <a:gd name="connsiteX113" fmla="*/ 635470 w 966597"/>
                <a:gd name="connsiteY113" fmla="*/ 21850 h 96555"/>
                <a:gd name="connsiteX114" fmla="*/ 648557 w 966597"/>
                <a:gd name="connsiteY114" fmla="*/ 21850 h 96555"/>
                <a:gd name="connsiteX115" fmla="*/ 648557 w 966597"/>
                <a:gd name="connsiteY115" fmla="*/ 30499 h 96555"/>
                <a:gd name="connsiteX116" fmla="*/ 665969 w 966597"/>
                <a:gd name="connsiteY116" fmla="*/ 20660 h 96555"/>
                <a:gd name="connsiteX117" fmla="*/ 682943 w 966597"/>
                <a:gd name="connsiteY117" fmla="*/ 30718 h 96555"/>
                <a:gd name="connsiteX118" fmla="*/ 702316 w 966597"/>
                <a:gd name="connsiteY118" fmla="*/ 20650 h 96555"/>
                <a:gd name="connsiteX119" fmla="*/ 594436 w 966597"/>
                <a:gd name="connsiteY119" fmla="*/ 20650 h 96555"/>
                <a:gd name="connsiteX120" fmla="*/ 621801 w 966597"/>
                <a:gd name="connsiteY120" fmla="*/ 51473 h 96555"/>
                <a:gd name="connsiteX121" fmla="*/ 621582 w 966597"/>
                <a:gd name="connsiteY121" fmla="*/ 55035 h 96555"/>
                <a:gd name="connsiteX122" fmla="*/ 579624 w 966597"/>
                <a:gd name="connsiteY122" fmla="*/ 55035 h 96555"/>
                <a:gd name="connsiteX123" fmla="*/ 596045 w 966597"/>
                <a:gd name="connsiteY123" fmla="*/ 69523 h 96555"/>
                <a:gd name="connsiteX124" fmla="*/ 611514 w 966597"/>
                <a:gd name="connsiteY124" fmla="*/ 62712 h 96555"/>
                <a:gd name="connsiteX125" fmla="*/ 619191 w 966597"/>
                <a:gd name="connsiteY125" fmla="*/ 69523 h 96555"/>
                <a:gd name="connsiteX126" fmla="*/ 595836 w 966597"/>
                <a:gd name="connsiteY126" fmla="*/ 80229 h 96555"/>
                <a:gd name="connsiteX127" fmla="*/ 566537 w 966597"/>
                <a:gd name="connsiteY127" fmla="*/ 50492 h 96555"/>
                <a:gd name="connsiteX128" fmla="*/ 594436 w 966597"/>
                <a:gd name="connsiteY128" fmla="*/ 20650 h 96555"/>
                <a:gd name="connsiteX129" fmla="*/ 467410 w 966597"/>
                <a:gd name="connsiteY129" fmla="*/ 20650 h 96555"/>
                <a:gd name="connsiteX130" fmla="*/ 490223 w 966597"/>
                <a:gd name="connsiteY130" fmla="*/ 30489 h 96555"/>
                <a:gd name="connsiteX131" fmla="*/ 482117 w 966597"/>
                <a:gd name="connsiteY131" fmla="*/ 39252 h 96555"/>
                <a:gd name="connsiteX132" fmla="*/ 467296 w 966597"/>
                <a:gd name="connsiteY132" fmla="*/ 32109 h 96555"/>
                <a:gd name="connsiteX133" fmla="*/ 450856 w 966597"/>
                <a:gd name="connsiteY133" fmla="*/ 50378 h 96555"/>
                <a:gd name="connsiteX134" fmla="*/ 467944 w 966597"/>
                <a:gd name="connsiteY134" fmla="*/ 68866 h 96555"/>
                <a:gd name="connsiteX135" fmla="*/ 482765 w 966597"/>
                <a:gd name="connsiteY135" fmla="*/ 61722 h 96555"/>
                <a:gd name="connsiteX136" fmla="*/ 490661 w 966597"/>
                <a:gd name="connsiteY136" fmla="*/ 69504 h 96555"/>
                <a:gd name="connsiteX137" fmla="*/ 467306 w 966597"/>
                <a:gd name="connsiteY137" fmla="*/ 80229 h 96555"/>
                <a:gd name="connsiteX138" fmla="*/ 437778 w 966597"/>
                <a:gd name="connsiteY138" fmla="*/ 50606 h 96555"/>
                <a:gd name="connsiteX139" fmla="*/ 467410 w 966597"/>
                <a:gd name="connsiteY139" fmla="*/ 20650 h 96555"/>
                <a:gd name="connsiteX140" fmla="*/ 324402 w 966597"/>
                <a:gd name="connsiteY140" fmla="*/ 20650 h 96555"/>
                <a:gd name="connsiteX141" fmla="*/ 351767 w 966597"/>
                <a:gd name="connsiteY141" fmla="*/ 51473 h 96555"/>
                <a:gd name="connsiteX142" fmla="*/ 351548 w 966597"/>
                <a:gd name="connsiteY142" fmla="*/ 55035 h 96555"/>
                <a:gd name="connsiteX143" fmla="*/ 309590 w 966597"/>
                <a:gd name="connsiteY143" fmla="*/ 55035 h 96555"/>
                <a:gd name="connsiteX144" fmla="*/ 326021 w 966597"/>
                <a:gd name="connsiteY144" fmla="*/ 69523 h 96555"/>
                <a:gd name="connsiteX145" fmla="*/ 341490 w 966597"/>
                <a:gd name="connsiteY145" fmla="*/ 62712 h 96555"/>
                <a:gd name="connsiteX146" fmla="*/ 349167 w 966597"/>
                <a:gd name="connsiteY146" fmla="*/ 69523 h 96555"/>
                <a:gd name="connsiteX147" fmla="*/ 325811 w 966597"/>
                <a:gd name="connsiteY147" fmla="*/ 80229 h 96555"/>
                <a:gd name="connsiteX148" fmla="*/ 296503 w 966597"/>
                <a:gd name="connsiteY148" fmla="*/ 50492 h 96555"/>
                <a:gd name="connsiteX149" fmla="*/ 324402 w 966597"/>
                <a:gd name="connsiteY149" fmla="*/ 20650 h 96555"/>
                <a:gd name="connsiteX150" fmla="*/ 153505 w 966597"/>
                <a:gd name="connsiteY150" fmla="*/ 20650 h 96555"/>
                <a:gd name="connsiteX151" fmla="*/ 180861 w 966597"/>
                <a:gd name="connsiteY151" fmla="*/ 51473 h 96555"/>
                <a:gd name="connsiteX152" fmla="*/ 180641 w 966597"/>
                <a:gd name="connsiteY152" fmla="*/ 55035 h 96555"/>
                <a:gd name="connsiteX153" fmla="*/ 138684 w 966597"/>
                <a:gd name="connsiteY153" fmla="*/ 55035 h 96555"/>
                <a:gd name="connsiteX154" fmla="*/ 155124 w 966597"/>
                <a:gd name="connsiteY154" fmla="*/ 69523 h 96555"/>
                <a:gd name="connsiteX155" fmla="*/ 170593 w 966597"/>
                <a:gd name="connsiteY155" fmla="*/ 62712 h 96555"/>
                <a:gd name="connsiteX156" fmla="*/ 178270 w 966597"/>
                <a:gd name="connsiteY156" fmla="*/ 69523 h 96555"/>
                <a:gd name="connsiteX157" fmla="*/ 154914 w 966597"/>
                <a:gd name="connsiteY157" fmla="*/ 80229 h 96555"/>
                <a:gd name="connsiteX158" fmla="*/ 125606 w 966597"/>
                <a:gd name="connsiteY158" fmla="*/ 50492 h 96555"/>
                <a:gd name="connsiteX159" fmla="*/ 153505 w 966597"/>
                <a:gd name="connsiteY159" fmla="*/ 20650 h 96555"/>
                <a:gd name="connsiteX160" fmla="*/ 824760 w 966597"/>
                <a:gd name="connsiteY160" fmla="*/ 6163 h 96555"/>
                <a:gd name="connsiteX161" fmla="*/ 837847 w 966597"/>
                <a:gd name="connsiteY161" fmla="*/ 6163 h 96555"/>
                <a:gd name="connsiteX162" fmla="*/ 837847 w 966597"/>
                <a:gd name="connsiteY162" fmla="*/ 21841 h 96555"/>
                <a:gd name="connsiteX163" fmla="*/ 853201 w 966597"/>
                <a:gd name="connsiteY163" fmla="*/ 21841 h 96555"/>
                <a:gd name="connsiteX164" fmla="*/ 853201 w 966597"/>
                <a:gd name="connsiteY164" fmla="*/ 33090 h 96555"/>
                <a:gd name="connsiteX165" fmla="*/ 837847 w 966597"/>
                <a:gd name="connsiteY165" fmla="*/ 33090 h 96555"/>
                <a:gd name="connsiteX166" fmla="*/ 837847 w 966597"/>
                <a:gd name="connsiteY166" fmla="*/ 61094 h 96555"/>
                <a:gd name="connsiteX167" fmla="*/ 844876 w 966597"/>
                <a:gd name="connsiteY167" fmla="*/ 68237 h 96555"/>
                <a:gd name="connsiteX168" fmla="*/ 852982 w 966597"/>
                <a:gd name="connsiteY168" fmla="*/ 66285 h 96555"/>
                <a:gd name="connsiteX169" fmla="*/ 852982 w 966597"/>
                <a:gd name="connsiteY169" fmla="*/ 77000 h 96555"/>
                <a:gd name="connsiteX170" fmla="*/ 841190 w 966597"/>
                <a:gd name="connsiteY170" fmla="*/ 79915 h 96555"/>
                <a:gd name="connsiteX171" fmla="*/ 824760 w 966597"/>
                <a:gd name="connsiteY171" fmla="*/ 63161 h 96555"/>
                <a:gd name="connsiteX172" fmla="*/ 824760 w 966597"/>
                <a:gd name="connsiteY172" fmla="*/ 33100 h 96555"/>
                <a:gd name="connsiteX173" fmla="*/ 817511 w 966597"/>
                <a:gd name="connsiteY173" fmla="*/ 33100 h 96555"/>
                <a:gd name="connsiteX174" fmla="*/ 817511 w 966597"/>
                <a:gd name="connsiteY174" fmla="*/ 21851 h 96555"/>
                <a:gd name="connsiteX175" fmla="*/ 824760 w 966597"/>
                <a:gd name="connsiteY175" fmla="*/ 21851 h 96555"/>
                <a:gd name="connsiteX176" fmla="*/ 259652 w 966597"/>
                <a:gd name="connsiteY176" fmla="*/ 6163 h 96555"/>
                <a:gd name="connsiteX177" fmla="*/ 272739 w 966597"/>
                <a:gd name="connsiteY177" fmla="*/ 6163 h 96555"/>
                <a:gd name="connsiteX178" fmla="*/ 272739 w 966597"/>
                <a:gd name="connsiteY178" fmla="*/ 21841 h 96555"/>
                <a:gd name="connsiteX179" fmla="*/ 288093 w 966597"/>
                <a:gd name="connsiteY179" fmla="*/ 21841 h 96555"/>
                <a:gd name="connsiteX180" fmla="*/ 288093 w 966597"/>
                <a:gd name="connsiteY180" fmla="*/ 33090 h 96555"/>
                <a:gd name="connsiteX181" fmla="*/ 272739 w 966597"/>
                <a:gd name="connsiteY181" fmla="*/ 33090 h 96555"/>
                <a:gd name="connsiteX182" fmla="*/ 272739 w 966597"/>
                <a:gd name="connsiteY182" fmla="*/ 61094 h 96555"/>
                <a:gd name="connsiteX183" fmla="*/ 272729 w 966597"/>
                <a:gd name="connsiteY183" fmla="*/ 61094 h 96555"/>
                <a:gd name="connsiteX184" fmla="*/ 279759 w 966597"/>
                <a:gd name="connsiteY184" fmla="*/ 68237 h 96555"/>
                <a:gd name="connsiteX185" fmla="*/ 287865 w 966597"/>
                <a:gd name="connsiteY185" fmla="*/ 66285 h 96555"/>
                <a:gd name="connsiteX186" fmla="*/ 287865 w 966597"/>
                <a:gd name="connsiteY186" fmla="*/ 77000 h 96555"/>
                <a:gd name="connsiteX187" fmla="*/ 276082 w 966597"/>
                <a:gd name="connsiteY187" fmla="*/ 79915 h 96555"/>
                <a:gd name="connsiteX188" fmla="*/ 259652 w 966597"/>
                <a:gd name="connsiteY188" fmla="*/ 63161 h 96555"/>
                <a:gd name="connsiteX189" fmla="*/ 259652 w 966597"/>
                <a:gd name="connsiteY189" fmla="*/ 33100 h 96555"/>
                <a:gd name="connsiteX190" fmla="*/ 252403 w 966597"/>
                <a:gd name="connsiteY190" fmla="*/ 33100 h 96555"/>
                <a:gd name="connsiteX191" fmla="*/ 252403 w 966597"/>
                <a:gd name="connsiteY191" fmla="*/ 21851 h 96555"/>
                <a:gd name="connsiteX192" fmla="*/ 259652 w 966597"/>
                <a:gd name="connsiteY192" fmla="*/ 21851 h 96555"/>
                <a:gd name="connsiteX193" fmla="*/ 39043 w 966597"/>
                <a:gd name="connsiteY193" fmla="*/ 1943 h 96555"/>
                <a:gd name="connsiteX194" fmla="*/ 68132 w 966597"/>
                <a:gd name="connsiteY194" fmla="*/ 12220 h 96555"/>
                <a:gd name="connsiteX195" fmla="*/ 59703 w 966597"/>
                <a:gd name="connsiteY195" fmla="*/ 22279 h 96555"/>
                <a:gd name="connsiteX196" fmla="*/ 38510 w 966597"/>
                <a:gd name="connsiteY196" fmla="*/ 14164 h 96555"/>
                <a:gd name="connsiteX197" fmla="*/ 13964 w 966597"/>
                <a:gd name="connsiteY197" fmla="*/ 40976 h 96555"/>
                <a:gd name="connsiteX198" fmla="*/ 39700 w 966597"/>
                <a:gd name="connsiteY198" fmla="*/ 68123 h 96555"/>
                <a:gd name="connsiteX199" fmla="*/ 57979 w 966597"/>
                <a:gd name="connsiteY199" fmla="*/ 62398 h 96555"/>
                <a:gd name="connsiteX200" fmla="*/ 57979 w 966597"/>
                <a:gd name="connsiteY200" fmla="*/ 48225 h 96555"/>
                <a:gd name="connsiteX201" fmla="*/ 38624 w 966597"/>
                <a:gd name="connsiteY201" fmla="*/ 48225 h 96555"/>
                <a:gd name="connsiteX202" fmla="*/ 38624 w 966597"/>
                <a:gd name="connsiteY202" fmla="*/ 36652 h 96555"/>
                <a:gd name="connsiteX203" fmla="*/ 70847 w 966597"/>
                <a:gd name="connsiteY203" fmla="*/ 36652 h 96555"/>
                <a:gd name="connsiteX204" fmla="*/ 70847 w 966597"/>
                <a:gd name="connsiteY204" fmla="*/ 68447 h 96555"/>
                <a:gd name="connsiteX205" fmla="*/ 39253 w 966597"/>
                <a:gd name="connsiteY205" fmla="*/ 80229 h 96555"/>
                <a:gd name="connsiteX206" fmla="*/ 0 w 966597"/>
                <a:gd name="connsiteY206" fmla="*/ 41196 h 96555"/>
                <a:gd name="connsiteX207" fmla="*/ 39043 w 966597"/>
                <a:gd name="connsiteY207" fmla="*/ 1943 h 96555"/>
                <a:gd name="connsiteX208" fmla="*/ 737854 w 966597"/>
                <a:gd name="connsiteY208" fmla="*/ 648 h 96555"/>
                <a:gd name="connsiteX209" fmla="*/ 751913 w 966597"/>
                <a:gd name="connsiteY209" fmla="*/ 648 h 96555"/>
                <a:gd name="connsiteX210" fmla="*/ 751913 w 966597"/>
                <a:gd name="connsiteY210" fmla="*/ 13088 h 96555"/>
                <a:gd name="connsiteX211" fmla="*/ 737854 w 966597"/>
                <a:gd name="connsiteY211" fmla="*/ 13088 h 96555"/>
                <a:gd name="connsiteX212" fmla="*/ 502101 w 966597"/>
                <a:gd name="connsiteY212" fmla="*/ 0 h 96555"/>
                <a:gd name="connsiteX213" fmla="*/ 515188 w 966597"/>
                <a:gd name="connsiteY213" fmla="*/ 0 h 96555"/>
                <a:gd name="connsiteX214" fmla="*/ 515188 w 966597"/>
                <a:gd name="connsiteY214" fmla="*/ 30709 h 96555"/>
                <a:gd name="connsiteX215" fmla="*/ 533029 w 966597"/>
                <a:gd name="connsiteY215" fmla="*/ 20650 h 96555"/>
                <a:gd name="connsiteX216" fmla="*/ 553365 w 966597"/>
                <a:gd name="connsiteY216" fmla="*/ 42596 h 96555"/>
                <a:gd name="connsiteX217" fmla="*/ 553365 w 966597"/>
                <a:gd name="connsiteY217" fmla="*/ 78934 h 96555"/>
                <a:gd name="connsiteX218" fmla="*/ 540277 w 966597"/>
                <a:gd name="connsiteY218" fmla="*/ 78934 h 96555"/>
                <a:gd name="connsiteX219" fmla="*/ 540277 w 966597"/>
                <a:gd name="connsiteY219" fmla="*/ 46492 h 96555"/>
                <a:gd name="connsiteX220" fmla="*/ 528057 w 966597"/>
                <a:gd name="connsiteY220" fmla="*/ 32537 h 96555"/>
                <a:gd name="connsiteX221" fmla="*/ 515179 w 966597"/>
                <a:gd name="connsiteY221" fmla="*/ 46711 h 96555"/>
                <a:gd name="connsiteX222" fmla="*/ 515179 w 966597"/>
                <a:gd name="connsiteY222" fmla="*/ 78934 h 96555"/>
                <a:gd name="connsiteX223" fmla="*/ 502101 w 966597"/>
                <a:gd name="connsiteY223" fmla="*/ 78934 h 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66597" h="96555">
                  <a:moveTo>
                    <a:pt x="216732" y="52435"/>
                  </a:moveTo>
                  <a:cubicBezTo>
                    <a:pt x="208512" y="52435"/>
                    <a:pt x="203645" y="55788"/>
                    <a:pt x="203645" y="61627"/>
                  </a:cubicBezTo>
                  <a:lnTo>
                    <a:pt x="203645" y="61846"/>
                  </a:lnTo>
                  <a:cubicBezTo>
                    <a:pt x="203645" y="67256"/>
                    <a:pt x="208512" y="70275"/>
                    <a:pt x="214674" y="70275"/>
                  </a:cubicBezTo>
                  <a:cubicBezTo>
                    <a:pt x="223323" y="70275"/>
                    <a:pt x="229819" y="65418"/>
                    <a:pt x="229819" y="58274"/>
                  </a:cubicBezTo>
                  <a:lnTo>
                    <a:pt x="229819" y="54712"/>
                  </a:lnTo>
                  <a:cubicBezTo>
                    <a:pt x="226466" y="53407"/>
                    <a:pt x="221818" y="52435"/>
                    <a:pt x="216732" y="52435"/>
                  </a:cubicBezTo>
                  <a:close/>
                  <a:moveTo>
                    <a:pt x="594312" y="31356"/>
                  </a:moveTo>
                  <a:cubicBezTo>
                    <a:pt x="586311" y="31356"/>
                    <a:pt x="580691" y="37519"/>
                    <a:pt x="579501" y="46387"/>
                  </a:cubicBezTo>
                  <a:lnTo>
                    <a:pt x="608799" y="46387"/>
                  </a:lnTo>
                  <a:cubicBezTo>
                    <a:pt x="607942" y="37957"/>
                    <a:pt x="602961" y="31356"/>
                    <a:pt x="594312" y="31356"/>
                  </a:cubicBezTo>
                  <a:close/>
                  <a:moveTo>
                    <a:pt x="324287" y="31356"/>
                  </a:moveTo>
                  <a:cubicBezTo>
                    <a:pt x="316286" y="31356"/>
                    <a:pt x="310667" y="37519"/>
                    <a:pt x="309476" y="46387"/>
                  </a:cubicBezTo>
                  <a:lnTo>
                    <a:pt x="338775" y="46387"/>
                  </a:lnTo>
                  <a:cubicBezTo>
                    <a:pt x="337918" y="37957"/>
                    <a:pt x="332936" y="31356"/>
                    <a:pt x="324287" y="31356"/>
                  </a:cubicBezTo>
                  <a:close/>
                  <a:moveTo>
                    <a:pt x="153400" y="31356"/>
                  </a:moveTo>
                  <a:cubicBezTo>
                    <a:pt x="145399" y="31356"/>
                    <a:pt x="139770" y="37519"/>
                    <a:pt x="138579" y="46387"/>
                  </a:cubicBezTo>
                  <a:lnTo>
                    <a:pt x="167888" y="46387"/>
                  </a:lnTo>
                  <a:cubicBezTo>
                    <a:pt x="167021" y="37957"/>
                    <a:pt x="162049" y="31356"/>
                    <a:pt x="153400" y="31356"/>
                  </a:cubicBezTo>
                  <a:close/>
                  <a:moveTo>
                    <a:pt x="907980" y="21841"/>
                  </a:moveTo>
                  <a:lnTo>
                    <a:pt x="921934" y="21841"/>
                  </a:lnTo>
                  <a:lnTo>
                    <a:pt x="938155" y="64227"/>
                  </a:lnTo>
                  <a:lnTo>
                    <a:pt x="952976" y="21841"/>
                  </a:lnTo>
                  <a:lnTo>
                    <a:pt x="966597" y="21841"/>
                  </a:lnTo>
                  <a:lnTo>
                    <a:pt x="943899" y="80553"/>
                  </a:lnTo>
                  <a:cubicBezTo>
                    <a:pt x="939355" y="92231"/>
                    <a:pt x="934269" y="96555"/>
                    <a:pt x="925077" y="96555"/>
                  </a:cubicBezTo>
                  <a:cubicBezTo>
                    <a:pt x="919562" y="96555"/>
                    <a:pt x="915562" y="95260"/>
                    <a:pt x="911561" y="93098"/>
                  </a:cubicBezTo>
                  <a:lnTo>
                    <a:pt x="915991" y="83363"/>
                  </a:lnTo>
                  <a:cubicBezTo>
                    <a:pt x="918372" y="84668"/>
                    <a:pt x="920963" y="85525"/>
                    <a:pt x="923668" y="85525"/>
                  </a:cubicBezTo>
                  <a:cubicBezTo>
                    <a:pt x="927344" y="85525"/>
                    <a:pt x="929611" y="83906"/>
                    <a:pt x="931773" y="78934"/>
                  </a:cubicBezTo>
                  <a:close/>
                  <a:moveTo>
                    <a:pt x="738397" y="21841"/>
                  </a:moveTo>
                  <a:lnTo>
                    <a:pt x="751484" y="21841"/>
                  </a:lnTo>
                  <a:lnTo>
                    <a:pt x="751484" y="78934"/>
                  </a:lnTo>
                  <a:lnTo>
                    <a:pt x="738397" y="78934"/>
                  </a:lnTo>
                  <a:close/>
                  <a:moveTo>
                    <a:pt x="217389" y="20974"/>
                  </a:moveTo>
                  <a:cubicBezTo>
                    <a:pt x="234258" y="20974"/>
                    <a:pt x="242478" y="29842"/>
                    <a:pt x="242478" y="45091"/>
                  </a:cubicBezTo>
                  <a:lnTo>
                    <a:pt x="242478" y="78934"/>
                  </a:lnTo>
                  <a:lnTo>
                    <a:pt x="229495" y="78934"/>
                  </a:lnTo>
                  <a:lnTo>
                    <a:pt x="229495" y="71904"/>
                  </a:lnTo>
                  <a:cubicBezTo>
                    <a:pt x="225600" y="76552"/>
                    <a:pt x="219656" y="80124"/>
                    <a:pt x="211007" y="80124"/>
                  </a:cubicBezTo>
                  <a:cubicBezTo>
                    <a:pt x="200196" y="80124"/>
                    <a:pt x="190681" y="73962"/>
                    <a:pt x="190681" y="62503"/>
                  </a:cubicBezTo>
                  <a:lnTo>
                    <a:pt x="190681" y="62293"/>
                  </a:lnTo>
                  <a:cubicBezTo>
                    <a:pt x="190681" y="49968"/>
                    <a:pt x="200520" y="43910"/>
                    <a:pt x="213827" y="43910"/>
                  </a:cubicBezTo>
                  <a:cubicBezTo>
                    <a:pt x="220751" y="43910"/>
                    <a:pt x="225181" y="44882"/>
                    <a:pt x="229610" y="46282"/>
                  </a:cubicBezTo>
                  <a:lnTo>
                    <a:pt x="229610" y="44882"/>
                  </a:lnTo>
                  <a:cubicBezTo>
                    <a:pt x="229610" y="36995"/>
                    <a:pt x="224638" y="32661"/>
                    <a:pt x="215551" y="32661"/>
                  </a:cubicBezTo>
                  <a:cubicBezTo>
                    <a:pt x="209169" y="32661"/>
                    <a:pt x="204416" y="34061"/>
                    <a:pt x="199225" y="36233"/>
                  </a:cubicBezTo>
                  <a:lnTo>
                    <a:pt x="195653" y="25737"/>
                  </a:lnTo>
                  <a:cubicBezTo>
                    <a:pt x="201921" y="22927"/>
                    <a:pt x="208083" y="20974"/>
                    <a:pt x="217389" y="20974"/>
                  </a:cubicBezTo>
                  <a:close/>
                  <a:moveTo>
                    <a:pt x="786517" y="20879"/>
                  </a:moveTo>
                  <a:cubicBezTo>
                    <a:pt x="793661" y="20879"/>
                    <a:pt x="801442" y="23356"/>
                    <a:pt x="807500" y="27366"/>
                  </a:cubicBezTo>
                  <a:lnTo>
                    <a:pt x="802309" y="36662"/>
                  </a:lnTo>
                  <a:cubicBezTo>
                    <a:pt x="796794" y="33309"/>
                    <a:pt x="790946" y="31252"/>
                    <a:pt x="786202" y="31252"/>
                  </a:cubicBezTo>
                  <a:cubicBezTo>
                    <a:pt x="781116" y="31252"/>
                    <a:pt x="778201" y="33633"/>
                    <a:pt x="778201" y="36986"/>
                  </a:cubicBezTo>
                  <a:lnTo>
                    <a:pt x="778201" y="37195"/>
                  </a:lnTo>
                  <a:cubicBezTo>
                    <a:pt x="778201" y="41310"/>
                    <a:pt x="784364" y="43044"/>
                    <a:pt x="791070" y="45196"/>
                  </a:cubicBezTo>
                  <a:cubicBezTo>
                    <a:pt x="799404" y="47787"/>
                    <a:pt x="808805" y="51578"/>
                    <a:pt x="808805" y="61846"/>
                  </a:cubicBezTo>
                  <a:lnTo>
                    <a:pt x="808805" y="62065"/>
                  </a:lnTo>
                  <a:cubicBezTo>
                    <a:pt x="808777" y="74067"/>
                    <a:pt x="799480" y="80020"/>
                    <a:pt x="787593" y="80020"/>
                  </a:cubicBezTo>
                  <a:cubicBezTo>
                    <a:pt x="779478" y="80020"/>
                    <a:pt x="770505" y="77096"/>
                    <a:pt x="763371" y="71476"/>
                  </a:cubicBezTo>
                  <a:lnTo>
                    <a:pt x="769219" y="62608"/>
                  </a:lnTo>
                  <a:cubicBezTo>
                    <a:pt x="775382" y="67256"/>
                    <a:pt x="782088" y="69637"/>
                    <a:pt x="787917" y="69637"/>
                  </a:cubicBezTo>
                  <a:cubicBezTo>
                    <a:pt x="793546" y="69637"/>
                    <a:pt x="796785" y="67256"/>
                    <a:pt x="796785" y="63475"/>
                  </a:cubicBezTo>
                  <a:lnTo>
                    <a:pt x="796785" y="63256"/>
                  </a:lnTo>
                  <a:cubicBezTo>
                    <a:pt x="796785" y="58827"/>
                    <a:pt x="790727" y="57312"/>
                    <a:pt x="784031" y="55255"/>
                  </a:cubicBezTo>
                  <a:cubicBezTo>
                    <a:pt x="775592" y="52873"/>
                    <a:pt x="766190" y="49406"/>
                    <a:pt x="766190" y="38500"/>
                  </a:cubicBezTo>
                  <a:lnTo>
                    <a:pt x="766190" y="38281"/>
                  </a:lnTo>
                  <a:cubicBezTo>
                    <a:pt x="766190" y="27470"/>
                    <a:pt x="775163" y="20879"/>
                    <a:pt x="786517" y="20879"/>
                  </a:cubicBezTo>
                  <a:close/>
                  <a:moveTo>
                    <a:pt x="900989" y="20764"/>
                  </a:moveTo>
                  <a:lnTo>
                    <a:pt x="900989" y="34604"/>
                  </a:lnTo>
                  <a:lnTo>
                    <a:pt x="900237" y="34604"/>
                  </a:lnTo>
                  <a:cubicBezTo>
                    <a:pt x="888778" y="34604"/>
                    <a:pt x="880767" y="42062"/>
                    <a:pt x="880767" y="57197"/>
                  </a:cubicBezTo>
                  <a:lnTo>
                    <a:pt x="880767" y="78933"/>
                  </a:lnTo>
                  <a:lnTo>
                    <a:pt x="867680" y="78933"/>
                  </a:lnTo>
                  <a:lnTo>
                    <a:pt x="867680" y="21840"/>
                  </a:lnTo>
                  <a:lnTo>
                    <a:pt x="880767" y="21840"/>
                  </a:lnTo>
                  <a:lnTo>
                    <a:pt x="880767" y="34718"/>
                  </a:lnTo>
                  <a:cubicBezTo>
                    <a:pt x="884339" y="26174"/>
                    <a:pt x="890931" y="20336"/>
                    <a:pt x="900989" y="20764"/>
                  </a:cubicBezTo>
                  <a:close/>
                  <a:moveTo>
                    <a:pt x="397154" y="20764"/>
                  </a:moveTo>
                  <a:lnTo>
                    <a:pt x="397154" y="34604"/>
                  </a:lnTo>
                  <a:lnTo>
                    <a:pt x="396401" y="34604"/>
                  </a:lnTo>
                  <a:cubicBezTo>
                    <a:pt x="384943" y="34604"/>
                    <a:pt x="376932" y="42062"/>
                    <a:pt x="376932" y="57197"/>
                  </a:cubicBezTo>
                  <a:lnTo>
                    <a:pt x="376932" y="78933"/>
                  </a:lnTo>
                  <a:lnTo>
                    <a:pt x="363845" y="78933"/>
                  </a:lnTo>
                  <a:lnTo>
                    <a:pt x="363845" y="21840"/>
                  </a:lnTo>
                  <a:lnTo>
                    <a:pt x="376932" y="21840"/>
                  </a:lnTo>
                  <a:lnTo>
                    <a:pt x="376932" y="34718"/>
                  </a:lnTo>
                  <a:cubicBezTo>
                    <a:pt x="380504" y="26174"/>
                    <a:pt x="387095" y="20336"/>
                    <a:pt x="397154" y="20764"/>
                  </a:cubicBezTo>
                  <a:close/>
                  <a:moveTo>
                    <a:pt x="118815" y="20764"/>
                  </a:moveTo>
                  <a:lnTo>
                    <a:pt x="118815" y="34604"/>
                  </a:lnTo>
                  <a:lnTo>
                    <a:pt x="118062" y="34604"/>
                  </a:lnTo>
                  <a:cubicBezTo>
                    <a:pt x="106604" y="34604"/>
                    <a:pt x="98603" y="42062"/>
                    <a:pt x="98603" y="57197"/>
                  </a:cubicBezTo>
                  <a:lnTo>
                    <a:pt x="98603" y="78933"/>
                  </a:lnTo>
                  <a:lnTo>
                    <a:pt x="98593" y="78933"/>
                  </a:lnTo>
                  <a:lnTo>
                    <a:pt x="85506" y="78933"/>
                  </a:lnTo>
                  <a:lnTo>
                    <a:pt x="85506" y="21840"/>
                  </a:lnTo>
                  <a:lnTo>
                    <a:pt x="98593" y="21840"/>
                  </a:lnTo>
                  <a:lnTo>
                    <a:pt x="98593" y="34718"/>
                  </a:lnTo>
                  <a:cubicBezTo>
                    <a:pt x="102156" y="26174"/>
                    <a:pt x="108757" y="20336"/>
                    <a:pt x="118815" y="20764"/>
                  </a:cubicBezTo>
                  <a:close/>
                  <a:moveTo>
                    <a:pt x="702316" y="20650"/>
                  </a:moveTo>
                  <a:cubicBezTo>
                    <a:pt x="714756" y="20650"/>
                    <a:pt x="722319" y="28546"/>
                    <a:pt x="722319" y="42491"/>
                  </a:cubicBezTo>
                  <a:lnTo>
                    <a:pt x="722319" y="78933"/>
                  </a:lnTo>
                  <a:lnTo>
                    <a:pt x="709232" y="78933"/>
                  </a:lnTo>
                  <a:lnTo>
                    <a:pt x="709232" y="46491"/>
                  </a:lnTo>
                  <a:cubicBezTo>
                    <a:pt x="709232" y="37414"/>
                    <a:pt x="705021" y="32537"/>
                    <a:pt x="697659" y="32537"/>
                  </a:cubicBezTo>
                  <a:cubicBezTo>
                    <a:pt x="690524" y="32537"/>
                    <a:pt x="685438" y="37519"/>
                    <a:pt x="685438" y="46710"/>
                  </a:cubicBezTo>
                  <a:lnTo>
                    <a:pt x="685438" y="78933"/>
                  </a:lnTo>
                  <a:lnTo>
                    <a:pt x="672351" y="78933"/>
                  </a:lnTo>
                  <a:lnTo>
                    <a:pt x="672351" y="46387"/>
                  </a:lnTo>
                  <a:cubicBezTo>
                    <a:pt x="672351" y="37519"/>
                    <a:pt x="668026" y="32547"/>
                    <a:pt x="660778" y="32547"/>
                  </a:cubicBezTo>
                  <a:cubicBezTo>
                    <a:pt x="653539" y="32547"/>
                    <a:pt x="648557" y="37957"/>
                    <a:pt x="648557" y="46825"/>
                  </a:cubicBezTo>
                  <a:lnTo>
                    <a:pt x="648557" y="78943"/>
                  </a:lnTo>
                  <a:lnTo>
                    <a:pt x="635470" y="78943"/>
                  </a:lnTo>
                  <a:lnTo>
                    <a:pt x="635470" y="21850"/>
                  </a:lnTo>
                  <a:lnTo>
                    <a:pt x="648557" y="21850"/>
                  </a:lnTo>
                  <a:lnTo>
                    <a:pt x="648557" y="30499"/>
                  </a:lnTo>
                  <a:cubicBezTo>
                    <a:pt x="652244" y="25422"/>
                    <a:pt x="657206" y="20660"/>
                    <a:pt x="665969" y="20660"/>
                  </a:cubicBezTo>
                  <a:cubicBezTo>
                    <a:pt x="674189" y="20660"/>
                    <a:pt x="679923" y="24660"/>
                    <a:pt x="682943" y="30718"/>
                  </a:cubicBezTo>
                  <a:cubicBezTo>
                    <a:pt x="687610" y="24651"/>
                    <a:pt x="693668" y="20650"/>
                    <a:pt x="702316" y="20650"/>
                  </a:cubicBezTo>
                  <a:close/>
                  <a:moveTo>
                    <a:pt x="594436" y="20650"/>
                  </a:moveTo>
                  <a:cubicBezTo>
                    <a:pt x="612600" y="20650"/>
                    <a:pt x="621801" y="34918"/>
                    <a:pt x="621801" y="51473"/>
                  </a:cubicBezTo>
                  <a:cubicBezTo>
                    <a:pt x="621801" y="52664"/>
                    <a:pt x="621696" y="53740"/>
                    <a:pt x="621582" y="55035"/>
                  </a:cubicBezTo>
                  <a:lnTo>
                    <a:pt x="579624" y="55035"/>
                  </a:lnTo>
                  <a:cubicBezTo>
                    <a:pt x="581120" y="64332"/>
                    <a:pt x="587606" y="69523"/>
                    <a:pt x="596045" y="69523"/>
                  </a:cubicBezTo>
                  <a:cubicBezTo>
                    <a:pt x="602427" y="69523"/>
                    <a:pt x="606971" y="67142"/>
                    <a:pt x="611514" y="62712"/>
                  </a:cubicBezTo>
                  <a:lnTo>
                    <a:pt x="619191" y="69523"/>
                  </a:lnTo>
                  <a:cubicBezTo>
                    <a:pt x="613781" y="76019"/>
                    <a:pt x="606323" y="80229"/>
                    <a:pt x="595836" y="80229"/>
                  </a:cubicBezTo>
                  <a:cubicBezTo>
                    <a:pt x="579291" y="80229"/>
                    <a:pt x="566537" y="68227"/>
                    <a:pt x="566537" y="50492"/>
                  </a:cubicBezTo>
                  <a:cubicBezTo>
                    <a:pt x="566537" y="34052"/>
                    <a:pt x="578100" y="20650"/>
                    <a:pt x="594436" y="20650"/>
                  </a:cubicBezTo>
                  <a:close/>
                  <a:moveTo>
                    <a:pt x="467410" y="20650"/>
                  </a:moveTo>
                  <a:cubicBezTo>
                    <a:pt x="478221" y="20650"/>
                    <a:pt x="484927" y="24651"/>
                    <a:pt x="490223" y="30489"/>
                  </a:cubicBezTo>
                  <a:lnTo>
                    <a:pt x="482117" y="39252"/>
                  </a:lnTo>
                  <a:cubicBezTo>
                    <a:pt x="478116" y="35033"/>
                    <a:pt x="473897" y="32109"/>
                    <a:pt x="467296" y="32109"/>
                  </a:cubicBezTo>
                  <a:cubicBezTo>
                    <a:pt x="457781" y="32109"/>
                    <a:pt x="450856" y="40329"/>
                    <a:pt x="450856" y="50378"/>
                  </a:cubicBezTo>
                  <a:cubicBezTo>
                    <a:pt x="450856" y="60655"/>
                    <a:pt x="457885" y="68866"/>
                    <a:pt x="467944" y="68866"/>
                  </a:cubicBezTo>
                  <a:cubicBezTo>
                    <a:pt x="474106" y="68866"/>
                    <a:pt x="478650" y="65951"/>
                    <a:pt x="482765" y="61722"/>
                  </a:cubicBezTo>
                  <a:lnTo>
                    <a:pt x="490661" y="69504"/>
                  </a:lnTo>
                  <a:cubicBezTo>
                    <a:pt x="485041" y="75800"/>
                    <a:pt x="478450" y="80229"/>
                    <a:pt x="467306" y="80229"/>
                  </a:cubicBezTo>
                  <a:cubicBezTo>
                    <a:pt x="450332" y="80229"/>
                    <a:pt x="437778" y="66932"/>
                    <a:pt x="437778" y="50606"/>
                  </a:cubicBezTo>
                  <a:cubicBezTo>
                    <a:pt x="437778" y="34280"/>
                    <a:pt x="450322" y="20650"/>
                    <a:pt x="467410" y="20650"/>
                  </a:cubicBezTo>
                  <a:close/>
                  <a:moveTo>
                    <a:pt x="324402" y="20650"/>
                  </a:moveTo>
                  <a:cubicBezTo>
                    <a:pt x="342566" y="20650"/>
                    <a:pt x="351767" y="34918"/>
                    <a:pt x="351767" y="51473"/>
                  </a:cubicBezTo>
                  <a:cubicBezTo>
                    <a:pt x="351767" y="52664"/>
                    <a:pt x="351662" y="53740"/>
                    <a:pt x="351548" y="55035"/>
                  </a:cubicBezTo>
                  <a:lnTo>
                    <a:pt x="309590" y="55035"/>
                  </a:lnTo>
                  <a:cubicBezTo>
                    <a:pt x="311105" y="64332"/>
                    <a:pt x="317591" y="69523"/>
                    <a:pt x="326021" y="69523"/>
                  </a:cubicBezTo>
                  <a:cubicBezTo>
                    <a:pt x="332403" y="69523"/>
                    <a:pt x="336946" y="67142"/>
                    <a:pt x="341490" y="62712"/>
                  </a:cubicBezTo>
                  <a:lnTo>
                    <a:pt x="349167" y="69523"/>
                  </a:lnTo>
                  <a:cubicBezTo>
                    <a:pt x="343757" y="76019"/>
                    <a:pt x="336298" y="80229"/>
                    <a:pt x="325811" y="80229"/>
                  </a:cubicBezTo>
                  <a:cubicBezTo>
                    <a:pt x="309267" y="80229"/>
                    <a:pt x="296503" y="68227"/>
                    <a:pt x="296503" y="50492"/>
                  </a:cubicBezTo>
                  <a:cubicBezTo>
                    <a:pt x="296503" y="34052"/>
                    <a:pt x="308076" y="20650"/>
                    <a:pt x="324402" y="20650"/>
                  </a:cubicBezTo>
                  <a:close/>
                  <a:moveTo>
                    <a:pt x="153505" y="20650"/>
                  </a:moveTo>
                  <a:cubicBezTo>
                    <a:pt x="171669" y="20650"/>
                    <a:pt x="180861" y="34918"/>
                    <a:pt x="180861" y="51473"/>
                  </a:cubicBezTo>
                  <a:cubicBezTo>
                    <a:pt x="180861" y="52664"/>
                    <a:pt x="180756" y="53740"/>
                    <a:pt x="180641" y="55035"/>
                  </a:cubicBezTo>
                  <a:lnTo>
                    <a:pt x="138684" y="55035"/>
                  </a:lnTo>
                  <a:cubicBezTo>
                    <a:pt x="140208" y="64332"/>
                    <a:pt x="146694" y="69523"/>
                    <a:pt x="155124" y="69523"/>
                  </a:cubicBezTo>
                  <a:cubicBezTo>
                    <a:pt x="161506" y="69523"/>
                    <a:pt x="166049" y="67142"/>
                    <a:pt x="170593" y="62712"/>
                  </a:cubicBezTo>
                  <a:lnTo>
                    <a:pt x="178270" y="69523"/>
                  </a:lnTo>
                  <a:cubicBezTo>
                    <a:pt x="172860" y="76019"/>
                    <a:pt x="165401" y="80229"/>
                    <a:pt x="154914" y="80229"/>
                  </a:cubicBezTo>
                  <a:cubicBezTo>
                    <a:pt x="138370" y="80229"/>
                    <a:pt x="125606" y="68227"/>
                    <a:pt x="125606" y="50492"/>
                  </a:cubicBezTo>
                  <a:cubicBezTo>
                    <a:pt x="125606" y="34052"/>
                    <a:pt x="137179" y="20650"/>
                    <a:pt x="153505" y="20650"/>
                  </a:cubicBezTo>
                  <a:close/>
                  <a:moveTo>
                    <a:pt x="824760" y="6163"/>
                  </a:moveTo>
                  <a:lnTo>
                    <a:pt x="837847" y="6163"/>
                  </a:lnTo>
                  <a:lnTo>
                    <a:pt x="837847" y="21841"/>
                  </a:lnTo>
                  <a:lnTo>
                    <a:pt x="853201" y="21841"/>
                  </a:lnTo>
                  <a:lnTo>
                    <a:pt x="853201" y="33090"/>
                  </a:lnTo>
                  <a:lnTo>
                    <a:pt x="837847" y="33090"/>
                  </a:lnTo>
                  <a:lnTo>
                    <a:pt x="837847" y="61094"/>
                  </a:lnTo>
                  <a:cubicBezTo>
                    <a:pt x="837847" y="66180"/>
                    <a:pt x="840438" y="68237"/>
                    <a:pt x="844876" y="68237"/>
                  </a:cubicBezTo>
                  <a:cubicBezTo>
                    <a:pt x="847791" y="68237"/>
                    <a:pt x="850382" y="67590"/>
                    <a:pt x="852982" y="66285"/>
                  </a:cubicBezTo>
                  <a:lnTo>
                    <a:pt x="852982" y="77000"/>
                  </a:lnTo>
                  <a:cubicBezTo>
                    <a:pt x="849734" y="78829"/>
                    <a:pt x="846057" y="79915"/>
                    <a:pt x="841190" y="79915"/>
                  </a:cubicBezTo>
                  <a:cubicBezTo>
                    <a:pt x="831570" y="79915"/>
                    <a:pt x="824760" y="75696"/>
                    <a:pt x="824760" y="63161"/>
                  </a:cubicBezTo>
                  <a:lnTo>
                    <a:pt x="824760" y="33100"/>
                  </a:lnTo>
                  <a:lnTo>
                    <a:pt x="817511" y="33100"/>
                  </a:lnTo>
                  <a:lnTo>
                    <a:pt x="817511" y="21851"/>
                  </a:lnTo>
                  <a:lnTo>
                    <a:pt x="824760" y="21851"/>
                  </a:lnTo>
                  <a:close/>
                  <a:moveTo>
                    <a:pt x="259652" y="6163"/>
                  </a:moveTo>
                  <a:lnTo>
                    <a:pt x="272739" y="6163"/>
                  </a:lnTo>
                  <a:lnTo>
                    <a:pt x="272739" y="21841"/>
                  </a:lnTo>
                  <a:lnTo>
                    <a:pt x="288093" y="21841"/>
                  </a:lnTo>
                  <a:lnTo>
                    <a:pt x="288093" y="33090"/>
                  </a:lnTo>
                  <a:lnTo>
                    <a:pt x="272739" y="33090"/>
                  </a:lnTo>
                  <a:lnTo>
                    <a:pt x="272739" y="61094"/>
                  </a:lnTo>
                  <a:lnTo>
                    <a:pt x="272729" y="61094"/>
                  </a:lnTo>
                  <a:cubicBezTo>
                    <a:pt x="272729" y="66180"/>
                    <a:pt x="275320" y="68237"/>
                    <a:pt x="279759" y="68237"/>
                  </a:cubicBezTo>
                  <a:cubicBezTo>
                    <a:pt x="282683" y="68237"/>
                    <a:pt x="285274" y="67590"/>
                    <a:pt x="287865" y="66285"/>
                  </a:cubicBezTo>
                  <a:lnTo>
                    <a:pt x="287865" y="77000"/>
                  </a:lnTo>
                  <a:cubicBezTo>
                    <a:pt x="284626" y="78829"/>
                    <a:pt x="280940" y="79915"/>
                    <a:pt x="276082" y="79915"/>
                  </a:cubicBezTo>
                  <a:cubicBezTo>
                    <a:pt x="266462" y="79915"/>
                    <a:pt x="259652" y="75696"/>
                    <a:pt x="259652" y="63161"/>
                  </a:cubicBezTo>
                  <a:lnTo>
                    <a:pt x="259652" y="33100"/>
                  </a:lnTo>
                  <a:lnTo>
                    <a:pt x="252403" y="33100"/>
                  </a:lnTo>
                  <a:lnTo>
                    <a:pt x="252403" y="21851"/>
                  </a:lnTo>
                  <a:lnTo>
                    <a:pt x="259652" y="21851"/>
                  </a:lnTo>
                  <a:close/>
                  <a:moveTo>
                    <a:pt x="39043" y="1943"/>
                  </a:moveTo>
                  <a:cubicBezTo>
                    <a:pt x="52235" y="1943"/>
                    <a:pt x="60341" y="5629"/>
                    <a:pt x="68132" y="12220"/>
                  </a:cubicBezTo>
                  <a:lnTo>
                    <a:pt x="59703" y="22279"/>
                  </a:lnTo>
                  <a:cubicBezTo>
                    <a:pt x="53864" y="17297"/>
                    <a:pt x="48130" y="14164"/>
                    <a:pt x="38510" y="14164"/>
                  </a:cubicBezTo>
                  <a:cubicBezTo>
                    <a:pt x="24565" y="14164"/>
                    <a:pt x="13964" y="26270"/>
                    <a:pt x="13964" y="40976"/>
                  </a:cubicBezTo>
                  <a:cubicBezTo>
                    <a:pt x="13964" y="56655"/>
                    <a:pt x="24232" y="68123"/>
                    <a:pt x="39700" y="68123"/>
                  </a:cubicBezTo>
                  <a:cubicBezTo>
                    <a:pt x="46844" y="68123"/>
                    <a:pt x="53331" y="65856"/>
                    <a:pt x="57979" y="62398"/>
                  </a:cubicBezTo>
                  <a:lnTo>
                    <a:pt x="57979" y="48225"/>
                  </a:lnTo>
                  <a:lnTo>
                    <a:pt x="38624" y="48225"/>
                  </a:lnTo>
                  <a:lnTo>
                    <a:pt x="38624" y="36652"/>
                  </a:lnTo>
                  <a:lnTo>
                    <a:pt x="70847" y="36652"/>
                  </a:lnTo>
                  <a:lnTo>
                    <a:pt x="70847" y="68447"/>
                  </a:lnTo>
                  <a:cubicBezTo>
                    <a:pt x="63370" y="74819"/>
                    <a:pt x="52664" y="80229"/>
                    <a:pt x="39253" y="80229"/>
                  </a:cubicBezTo>
                  <a:cubicBezTo>
                    <a:pt x="15573" y="80229"/>
                    <a:pt x="0" y="63360"/>
                    <a:pt x="0" y="41196"/>
                  </a:cubicBezTo>
                  <a:cubicBezTo>
                    <a:pt x="0" y="19898"/>
                    <a:pt x="16221" y="1943"/>
                    <a:pt x="39043" y="1943"/>
                  </a:cubicBezTo>
                  <a:close/>
                  <a:moveTo>
                    <a:pt x="737854" y="648"/>
                  </a:moveTo>
                  <a:lnTo>
                    <a:pt x="751913" y="648"/>
                  </a:lnTo>
                  <a:lnTo>
                    <a:pt x="751913" y="13088"/>
                  </a:lnTo>
                  <a:lnTo>
                    <a:pt x="737854" y="13088"/>
                  </a:lnTo>
                  <a:close/>
                  <a:moveTo>
                    <a:pt x="502101" y="0"/>
                  </a:moveTo>
                  <a:lnTo>
                    <a:pt x="515188" y="0"/>
                  </a:lnTo>
                  <a:lnTo>
                    <a:pt x="515188" y="30709"/>
                  </a:lnTo>
                  <a:cubicBezTo>
                    <a:pt x="518874" y="25298"/>
                    <a:pt x="524170" y="20650"/>
                    <a:pt x="533029" y="20650"/>
                  </a:cubicBezTo>
                  <a:cubicBezTo>
                    <a:pt x="545897" y="20650"/>
                    <a:pt x="553365" y="29299"/>
                    <a:pt x="553365" y="42596"/>
                  </a:cubicBezTo>
                  <a:lnTo>
                    <a:pt x="553365" y="78934"/>
                  </a:lnTo>
                  <a:lnTo>
                    <a:pt x="540277" y="78934"/>
                  </a:lnTo>
                  <a:lnTo>
                    <a:pt x="540277" y="46492"/>
                  </a:lnTo>
                  <a:cubicBezTo>
                    <a:pt x="540277" y="37624"/>
                    <a:pt x="535839" y="32537"/>
                    <a:pt x="528057" y="32537"/>
                  </a:cubicBezTo>
                  <a:cubicBezTo>
                    <a:pt x="520484" y="32537"/>
                    <a:pt x="515179" y="37833"/>
                    <a:pt x="515179" y="46711"/>
                  </a:cubicBezTo>
                  <a:lnTo>
                    <a:pt x="515179" y="78934"/>
                  </a:lnTo>
                  <a:lnTo>
                    <a:pt x="502101" y="78934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8163869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Image" preserve="1" userDrawn="1">
  <p:cSld name="Conten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56AD2-86DE-45CE-9C86-06A8FEB4C30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A0280D7-776E-4DF7-B2B2-62793D5C0A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1" y="1745009"/>
            <a:ext cx="5447700" cy="4679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E25D858B-15AE-4789-9389-7627D0F2EE6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12299" y="1745009"/>
            <a:ext cx="5447701" cy="4679604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dirty="0"/>
              <a:t>Click on Media Hub to insert Clariant Image</a:t>
            </a:r>
          </a:p>
        </p:txBody>
      </p:sp>
    </p:spTree>
    <p:extLst>
      <p:ext uri="{BB962C8B-B14F-4D97-AF65-F5344CB8AC3E}">
        <p14:creationId xmlns:p14="http://schemas.microsoft.com/office/powerpoint/2010/main" val="326247462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F95D-6E1C-4194-9BA7-040815430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01" y="1745009"/>
            <a:ext cx="5447700" cy="4679604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de-DE" noProof="0" dirty="0"/>
              <a:t>Click on Media Hub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Clariant Image</a:t>
            </a:r>
            <a:endParaRPr lang="en-GB" noProof="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6312299" y="1745009"/>
            <a:ext cx="5447701" cy="4679604"/>
          </a:xfrm>
        </p:spPr>
        <p:txBody>
          <a:bodyPr tIns="1728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dirty="0"/>
              <a:t>Click on Media Hub to insert Clariant Image</a:t>
            </a:r>
          </a:p>
        </p:txBody>
      </p:sp>
    </p:spTree>
    <p:extLst>
      <p:ext uri="{BB962C8B-B14F-4D97-AF65-F5344CB8AC3E}">
        <p14:creationId xmlns:p14="http://schemas.microsoft.com/office/powerpoint/2010/main" val="87520419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05" userDrawn="1">
          <p15:clr>
            <a:srgbClr val="FBAE40"/>
          </p15:clr>
        </p15:guide>
        <p15:guide id="2" pos="397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391A6E-2067-491E-95F2-078FB38937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00" y="800708"/>
            <a:ext cx="11328000" cy="5623905"/>
          </a:xfrm>
        </p:spPr>
        <p:txBody>
          <a:bodyPr tIns="2232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 dirty="0"/>
              <a:t>Click on Media Hub to insert Clariant Image</a:t>
            </a:r>
          </a:p>
        </p:txBody>
      </p:sp>
    </p:spTree>
    <p:extLst>
      <p:ext uri="{BB962C8B-B14F-4D97-AF65-F5344CB8AC3E}">
        <p14:creationId xmlns:p14="http://schemas.microsoft.com/office/powerpoint/2010/main" val="3965037800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EA97B-D698-4E1F-9D50-7E72A5ACE0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411595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086F6-2F20-456A-A7A8-1E350AC25DF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45806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Full-sized Image" preserve="1" userDrawn="1">
  <p:cSld name="Title Slide - Full-sized Image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xtDate">
            <a:extLst>
              <a:ext uri="{FF2B5EF4-FFF2-40B4-BE49-F238E27FC236}">
                <a16:creationId xmlns:a16="http://schemas.microsoft.com/office/drawing/2014/main" id="{9F1A70E8-B6A1-4151-93C5-F660AB4D084C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gray">
          <a:xfrm>
            <a:off x="431800" y="5976395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050" noProof="0">
                <a:solidFill>
                  <a:schemeClr val="tx2"/>
                </a:solidFill>
                <a:latin typeface="+mj-lt"/>
              </a:rPr>
              <a:t>01.02.2023</a:t>
            </a: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7" name="txtFooter3">
            <a:extLst>
              <a:ext uri="{FF2B5EF4-FFF2-40B4-BE49-F238E27FC236}">
                <a16:creationId xmlns:a16="http://schemas.microsoft.com/office/drawing/2014/main" id="{D6A968C4-431C-4308-8ACD-18F77D7AE4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gray">
          <a:xfrm>
            <a:off x="431800" y="6133240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6" name="txtFooter2">
            <a:extLst>
              <a:ext uri="{FF2B5EF4-FFF2-40B4-BE49-F238E27FC236}">
                <a16:creationId xmlns:a16="http://schemas.microsoft.com/office/drawing/2014/main" id="{572433B9-196A-4A37-A1C2-BFD4AA3CA38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gray">
          <a:xfrm>
            <a:off x="431800" y="5976395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5" name="txtFooter1">
            <a:extLst>
              <a:ext uri="{FF2B5EF4-FFF2-40B4-BE49-F238E27FC236}">
                <a16:creationId xmlns:a16="http://schemas.microsoft.com/office/drawing/2014/main" id="{B06F9B35-B20A-4A43-B5BB-7315633C3EB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431800" y="5819550"/>
            <a:ext cx="5664200" cy="1600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050" noProof="0">
                <a:solidFill>
                  <a:schemeClr val="tx2"/>
                </a:solidFill>
                <a:latin typeface="+mj-lt"/>
              </a:rPr>
              <a:t>Greg Crymble</a:t>
            </a: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7" name="Image Placeholder">
            <a:extLst>
              <a:ext uri="{FF2B5EF4-FFF2-40B4-BE49-F238E27FC236}">
                <a16:creationId xmlns:a16="http://schemas.microsoft.com/office/drawing/2014/main" id="{E116CD9E-EE8F-492C-B53F-5BBC929B24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12192000" cy="6858000"/>
          </a:xfrm>
        </p:spPr>
        <p:txBody>
          <a:bodyPr tIns="792000" anchor="ctr" anchorCtr="0"/>
          <a:lstStyle>
            <a:lvl1pPr marL="0" indent="0" algn="ctr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on Media Hub to insert Clariant Image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ctrTitle"/>
          </p:nvPr>
        </p:nvSpPr>
        <p:spPr bwMode="gray">
          <a:xfrm>
            <a:off x="431800" y="431800"/>
            <a:ext cx="7932452" cy="271365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Placeholder"/>
          <p:cNvSpPr>
            <a:spLocks noGrp="1"/>
          </p:cNvSpPr>
          <p:nvPr>
            <p:ph type="subTitle" idx="1"/>
          </p:nvPr>
        </p:nvSpPr>
        <p:spPr bwMode="gray">
          <a:xfrm>
            <a:off x="431800" y="3312458"/>
            <a:ext cx="5664200" cy="2096761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00" b="0" cap="none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grpSp>
        <p:nvGrpSpPr>
          <p:cNvPr id="4" name="RightArea">
            <a:extLst>
              <a:ext uri="{FF2B5EF4-FFF2-40B4-BE49-F238E27FC236}">
                <a16:creationId xmlns:a16="http://schemas.microsoft.com/office/drawing/2014/main" id="{6FF30111-7560-48E9-B27F-43B171C67E0A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8616280" y="215848"/>
            <a:ext cx="3575720" cy="6642152"/>
            <a:chOff x="8616280" y="215848"/>
            <a:chExt cx="3575720" cy="6642152"/>
          </a:xfrm>
        </p:grpSpPr>
        <p:sp>
          <p:nvSpPr>
            <p:cNvPr id="15" name="BadgeOutline">
              <a:extLst>
                <a:ext uri="{FF2B5EF4-FFF2-40B4-BE49-F238E27FC236}">
                  <a16:creationId xmlns:a16="http://schemas.microsoft.com/office/drawing/2014/main" id="{64C908AE-B06F-4741-B4F4-308BD1DE9234}"/>
                </a:ext>
              </a:extLst>
            </p:cNvPr>
            <p:cNvSpPr/>
            <p:nvPr/>
          </p:nvSpPr>
          <p:spPr bwMode="gray">
            <a:xfrm>
              <a:off x="8616280" y="2564904"/>
              <a:ext cx="3575720" cy="4293096"/>
            </a:xfrm>
            <a:custGeom>
              <a:avLst/>
              <a:gdLst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34546 h 4293096"/>
                <a:gd name="connsiteX17" fmla="*/ 18798 w 3575720"/>
                <a:gd name="connsiteY17" fmla="*/ 4293096 h 4293096"/>
                <a:gd name="connsiteX18" fmla="*/ 5903 w 3575720"/>
                <a:gd name="connsiteY18" fmla="*/ 4293096 h 4293096"/>
                <a:gd name="connsiteX19" fmla="*/ 0 w 3575720"/>
                <a:gd name="connsiteY19" fmla="*/ 4234546 h 4293096"/>
                <a:gd name="connsiteX20" fmla="*/ 0 w 3575720"/>
                <a:gd name="connsiteY20" fmla="*/ 876091 h 4293096"/>
                <a:gd name="connsiteX21" fmla="*/ 876091 w 3575720"/>
                <a:gd name="connsiteY21" fmla="*/ 0 h 429309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34546 h 4293096"/>
                <a:gd name="connsiteX17" fmla="*/ 18798 w 3575720"/>
                <a:gd name="connsiteY17" fmla="*/ 4293096 h 4293096"/>
                <a:gd name="connsiteX18" fmla="*/ 0 w 3575720"/>
                <a:gd name="connsiteY18" fmla="*/ 4234546 h 4293096"/>
                <a:gd name="connsiteX19" fmla="*/ 0 w 3575720"/>
                <a:gd name="connsiteY19" fmla="*/ 876091 h 4293096"/>
                <a:gd name="connsiteX20" fmla="*/ 876091 w 3575720"/>
                <a:gd name="connsiteY20" fmla="*/ 0 h 4293096"/>
                <a:gd name="connsiteX0" fmla="*/ 2555383 w 3575720"/>
                <a:gd name="connsiteY0" fmla="*/ 2312504 h 4234546"/>
                <a:gd name="connsiteX1" fmla="*/ 3575720 w 3575720"/>
                <a:gd name="connsiteY1" fmla="*/ 2312504 h 4234546"/>
                <a:gd name="connsiteX2" fmla="*/ 3575720 w 3575720"/>
                <a:gd name="connsiteY2" fmla="*/ 2325253 h 4234546"/>
                <a:gd name="connsiteX3" fmla="*/ 2555383 w 3575720"/>
                <a:gd name="connsiteY3" fmla="*/ 2325253 h 4234546"/>
                <a:gd name="connsiteX4" fmla="*/ 2325382 w 3575720"/>
                <a:gd name="connsiteY4" fmla="*/ 2555254 h 4234546"/>
                <a:gd name="connsiteX5" fmla="*/ 2555383 w 3575720"/>
                <a:gd name="connsiteY5" fmla="*/ 2785255 h 4234546"/>
                <a:gd name="connsiteX6" fmla="*/ 3575720 w 3575720"/>
                <a:gd name="connsiteY6" fmla="*/ 2785255 h 4234546"/>
                <a:gd name="connsiteX7" fmla="*/ 3575720 w 3575720"/>
                <a:gd name="connsiteY7" fmla="*/ 2798262 h 4234546"/>
                <a:gd name="connsiteX8" fmla="*/ 2555383 w 3575720"/>
                <a:gd name="connsiteY8" fmla="*/ 2798262 h 4234546"/>
                <a:gd name="connsiteX9" fmla="*/ 2312504 w 3575720"/>
                <a:gd name="connsiteY9" fmla="*/ 2555383 h 4234546"/>
                <a:gd name="connsiteX10" fmla="*/ 2555383 w 3575720"/>
                <a:gd name="connsiteY10" fmla="*/ 2312504 h 4234546"/>
                <a:gd name="connsiteX11" fmla="*/ 876091 w 3575720"/>
                <a:gd name="connsiteY11" fmla="*/ 0 h 4234546"/>
                <a:gd name="connsiteX12" fmla="*/ 3575720 w 3575720"/>
                <a:gd name="connsiteY12" fmla="*/ 0 h 4234546"/>
                <a:gd name="connsiteX13" fmla="*/ 3575720 w 3575720"/>
                <a:gd name="connsiteY13" fmla="*/ 12878 h 4234546"/>
                <a:gd name="connsiteX14" fmla="*/ 876091 w 3575720"/>
                <a:gd name="connsiteY14" fmla="*/ 12878 h 4234546"/>
                <a:gd name="connsiteX15" fmla="*/ 12878 w 3575720"/>
                <a:gd name="connsiteY15" fmla="*/ 876091 h 4234546"/>
                <a:gd name="connsiteX16" fmla="*/ 12878 w 3575720"/>
                <a:gd name="connsiteY16" fmla="*/ 4234546 h 4234546"/>
                <a:gd name="connsiteX17" fmla="*/ 0 w 3575720"/>
                <a:gd name="connsiteY17" fmla="*/ 4234546 h 4234546"/>
                <a:gd name="connsiteX18" fmla="*/ 0 w 3575720"/>
                <a:gd name="connsiteY18" fmla="*/ 876091 h 4234546"/>
                <a:gd name="connsiteX19" fmla="*/ 876091 w 3575720"/>
                <a:gd name="connsiteY19" fmla="*/ 0 h 423454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93096 h 4293096"/>
                <a:gd name="connsiteX17" fmla="*/ 0 w 3575720"/>
                <a:gd name="connsiteY17" fmla="*/ 4234546 h 4293096"/>
                <a:gd name="connsiteX18" fmla="*/ 0 w 3575720"/>
                <a:gd name="connsiteY18" fmla="*/ 876091 h 4293096"/>
                <a:gd name="connsiteX19" fmla="*/ 876091 w 3575720"/>
                <a:gd name="connsiteY19" fmla="*/ 0 h 429309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93096 h 4293096"/>
                <a:gd name="connsiteX17" fmla="*/ 0 w 3575720"/>
                <a:gd name="connsiteY17" fmla="*/ 4293096 h 4293096"/>
                <a:gd name="connsiteX18" fmla="*/ 0 w 3575720"/>
                <a:gd name="connsiteY18" fmla="*/ 876091 h 4293096"/>
                <a:gd name="connsiteX19" fmla="*/ 876091 w 3575720"/>
                <a:gd name="connsiteY19" fmla="*/ 0 h 4293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75720" h="4293096">
                  <a:moveTo>
                    <a:pt x="2555383" y="2312504"/>
                  </a:moveTo>
                  <a:lnTo>
                    <a:pt x="3575720" y="2312504"/>
                  </a:lnTo>
                  <a:lnTo>
                    <a:pt x="3575720" y="2325253"/>
                  </a:lnTo>
                  <a:lnTo>
                    <a:pt x="2555383" y="2325253"/>
                  </a:lnTo>
                  <a:cubicBezTo>
                    <a:pt x="2428406" y="2325253"/>
                    <a:pt x="2325382" y="2428277"/>
                    <a:pt x="2325382" y="2555254"/>
                  </a:cubicBezTo>
                  <a:cubicBezTo>
                    <a:pt x="2325382" y="2682231"/>
                    <a:pt x="2428406" y="2785255"/>
                    <a:pt x="2555383" y="2785255"/>
                  </a:cubicBezTo>
                  <a:lnTo>
                    <a:pt x="3575720" y="2785255"/>
                  </a:lnTo>
                  <a:lnTo>
                    <a:pt x="3575720" y="2798262"/>
                  </a:lnTo>
                  <a:lnTo>
                    <a:pt x="2555383" y="2798262"/>
                  </a:lnTo>
                  <a:cubicBezTo>
                    <a:pt x="2421451" y="2798262"/>
                    <a:pt x="2312504" y="2689314"/>
                    <a:pt x="2312504" y="2555383"/>
                  </a:cubicBezTo>
                  <a:cubicBezTo>
                    <a:pt x="2312504" y="2421451"/>
                    <a:pt x="2421451" y="2312504"/>
                    <a:pt x="2555383" y="2312504"/>
                  </a:cubicBezTo>
                  <a:close/>
                  <a:moveTo>
                    <a:pt x="876091" y="0"/>
                  </a:moveTo>
                  <a:lnTo>
                    <a:pt x="3575720" y="0"/>
                  </a:lnTo>
                  <a:lnTo>
                    <a:pt x="3575720" y="12878"/>
                  </a:lnTo>
                  <a:lnTo>
                    <a:pt x="876091" y="12878"/>
                  </a:lnTo>
                  <a:cubicBezTo>
                    <a:pt x="400120" y="12878"/>
                    <a:pt x="12878" y="400120"/>
                    <a:pt x="12878" y="876091"/>
                  </a:cubicBezTo>
                  <a:lnTo>
                    <a:pt x="12878" y="4293096"/>
                  </a:lnTo>
                  <a:lnTo>
                    <a:pt x="0" y="4293096"/>
                  </a:lnTo>
                  <a:lnTo>
                    <a:pt x="0" y="876091"/>
                  </a:lnTo>
                  <a:cubicBezTo>
                    <a:pt x="0" y="392264"/>
                    <a:pt x="392264" y="0"/>
                    <a:pt x="876091" y="0"/>
                  </a:cubicBezTo>
                  <a:close/>
                </a:path>
              </a:pathLst>
            </a:custGeom>
            <a:solidFill>
              <a:schemeClr val="tx2"/>
            </a:solidFill>
            <a:ln w="12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16" name="Logo">
              <a:extLst>
                <a:ext uri="{FF2B5EF4-FFF2-40B4-BE49-F238E27FC236}">
                  <a16:creationId xmlns:a16="http://schemas.microsoft.com/office/drawing/2014/main" id="{A659EFD8-E7A1-4B45-B29F-35F3BF043C9F}"/>
                </a:ext>
              </a:extLst>
            </p:cNvPr>
            <p:cNvSpPr/>
            <p:nvPr/>
          </p:nvSpPr>
          <p:spPr bwMode="gray">
            <a:xfrm>
              <a:off x="10177458" y="215848"/>
              <a:ext cx="1798344" cy="419950"/>
            </a:xfrm>
            <a:custGeom>
              <a:avLst/>
              <a:gdLst>
                <a:gd name="connsiteX0" fmla="*/ 1015493 w 1798344"/>
                <a:gd name="connsiteY0" fmla="*/ 267913 h 419950"/>
                <a:gd name="connsiteX1" fmla="*/ 988878 w 1798344"/>
                <a:gd name="connsiteY1" fmla="*/ 332853 h 419950"/>
                <a:gd name="connsiteX2" fmla="*/ 1042105 w 1798344"/>
                <a:gd name="connsiteY2" fmla="*/ 332853 h 419950"/>
                <a:gd name="connsiteX3" fmla="*/ 468589 w 1798344"/>
                <a:gd name="connsiteY3" fmla="*/ 267913 h 419950"/>
                <a:gd name="connsiteX4" fmla="*/ 441977 w 1798344"/>
                <a:gd name="connsiteY4" fmla="*/ 332853 h 419950"/>
                <a:gd name="connsiteX5" fmla="*/ 495204 w 1798344"/>
                <a:gd name="connsiteY5" fmla="*/ 332853 h 419950"/>
                <a:gd name="connsiteX6" fmla="*/ 652079 w 1798344"/>
                <a:gd name="connsiteY6" fmla="*/ 256195 h 419950"/>
                <a:gd name="connsiteX7" fmla="*/ 652079 w 1798344"/>
                <a:gd name="connsiteY7" fmla="*/ 313624 h 419950"/>
                <a:gd name="connsiteX8" fmla="*/ 696645 w 1798344"/>
                <a:gd name="connsiteY8" fmla="*/ 313624 h 419950"/>
                <a:gd name="connsiteX9" fmla="*/ 730390 w 1798344"/>
                <a:gd name="connsiteY9" fmla="*/ 285356 h 419950"/>
                <a:gd name="connsiteX10" fmla="*/ 730518 w 1798344"/>
                <a:gd name="connsiteY10" fmla="*/ 285356 h 419950"/>
                <a:gd name="connsiteX11" fmla="*/ 730518 w 1798344"/>
                <a:gd name="connsiteY11" fmla="*/ 284720 h 419950"/>
                <a:gd name="connsiteX12" fmla="*/ 695881 w 1798344"/>
                <a:gd name="connsiteY12" fmla="*/ 256195 h 419950"/>
                <a:gd name="connsiteX13" fmla="*/ 218759 w 1798344"/>
                <a:gd name="connsiteY13" fmla="*/ 216596 h 419950"/>
                <a:gd name="connsiteX14" fmla="*/ 262818 w 1798344"/>
                <a:gd name="connsiteY14" fmla="*/ 216596 h 419950"/>
                <a:gd name="connsiteX15" fmla="*/ 262818 w 1798344"/>
                <a:gd name="connsiteY15" fmla="*/ 376656 h 419950"/>
                <a:gd name="connsiteX16" fmla="*/ 337944 w 1798344"/>
                <a:gd name="connsiteY16" fmla="*/ 376656 h 419950"/>
                <a:gd name="connsiteX17" fmla="*/ 337944 w 1798344"/>
                <a:gd name="connsiteY17" fmla="*/ 416638 h 419950"/>
                <a:gd name="connsiteX18" fmla="*/ 218759 w 1798344"/>
                <a:gd name="connsiteY18" fmla="*/ 416638 h 419950"/>
                <a:gd name="connsiteX19" fmla="*/ 1374576 w 1798344"/>
                <a:gd name="connsiteY19" fmla="*/ 216467 h 419950"/>
                <a:gd name="connsiteX20" fmla="*/ 1540365 w 1798344"/>
                <a:gd name="connsiteY20" fmla="*/ 216467 h 419950"/>
                <a:gd name="connsiteX21" fmla="*/ 1540365 w 1798344"/>
                <a:gd name="connsiteY21" fmla="*/ 257088 h 419950"/>
                <a:gd name="connsiteX22" fmla="*/ 1479499 w 1798344"/>
                <a:gd name="connsiteY22" fmla="*/ 257088 h 419950"/>
                <a:gd name="connsiteX23" fmla="*/ 1479499 w 1798344"/>
                <a:gd name="connsiteY23" fmla="*/ 416637 h 419950"/>
                <a:gd name="connsiteX24" fmla="*/ 1435440 w 1798344"/>
                <a:gd name="connsiteY24" fmla="*/ 416637 h 419950"/>
                <a:gd name="connsiteX25" fmla="*/ 1435440 w 1798344"/>
                <a:gd name="connsiteY25" fmla="*/ 257088 h 419950"/>
                <a:gd name="connsiteX26" fmla="*/ 1374576 w 1798344"/>
                <a:gd name="connsiteY26" fmla="*/ 257088 h 419950"/>
                <a:gd name="connsiteX27" fmla="*/ 1155049 w 1798344"/>
                <a:gd name="connsiteY27" fmla="*/ 216467 h 419950"/>
                <a:gd name="connsiteX28" fmla="*/ 1195670 w 1798344"/>
                <a:gd name="connsiteY28" fmla="*/ 216467 h 419950"/>
                <a:gd name="connsiteX29" fmla="*/ 1289389 w 1798344"/>
                <a:gd name="connsiteY29" fmla="*/ 339729 h 419950"/>
                <a:gd name="connsiteX30" fmla="*/ 1289389 w 1798344"/>
                <a:gd name="connsiteY30" fmla="*/ 216467 h 419950"/>
                <a:gd name="connsiteX31" fmla="*/ 1332937 w 1798344"/>
                <a:gd name="connsiteY31" fmla="*/ 216467 h 419950"/>
                <a:gd name="connsiteX32" fmla="*/ 1332937 w 1798344"/>
                <a:gd name="connsiteY32" fmla="*/ 416637 h 419950"/>
                <a:gd name="connsiteX33" fmla="*/ 1295373 w 1798344"/>
                <a:gd name="connsiteY33" fmla="*/ 416637 h 419950"/>
                <a:gd name="connsiteX34" fmla="*/ 1198472 w 1798344"/>
                <a:gd name="connsiteY34" fmla="*/ 289430 h 419950"/>
                <a:gd name="connsiteX35" fmla="*/ 1198472 w 1798344"/>
                <a:gd name="connsiteY35" fmla="*/ 416637 h 419950"/>
                <a:gd name="connsiteX36" fmla="*/ 1155049 w 1798344"/>
                <a:gd name="connsiteY36" fmla="*/ 416637 h 419950"/>
                <a:gd name="connsiteX37" fmla="*/ 831111 w 1798344"/>
                <a:gd name="connsiteY37" fmla="*/ 216467 h 419950"/>
                <a:gd name="connsiteX38" fmla="*/ 875170 w 1798344"/>
                <a:gd name="connsiteY38" fmla="*/ 216467 h 419950"/>
                <a:gd name="connsiteX39" fmla="*/ 875170 w 1798344"/>
                <a:gd name="connsiteY39" fmla="*/ 416637 h 419950"/>
                <a:gd name="connsiteX40" fmla="*/ 831111 w 1798344"/>
                <a:gd name="connsiteY40" fmla="*/ 416637 h 419950"/>
                <a:gd name="connsiteX41" fmla="*/ 608149 w 1798344"/>
                <a:gd name="connsiteY41" fmla="*/ 216467 h 419950"/>
                <a:gd name="connsiteX42" fmla="*/ 699576 w 1798344"/>
                <a:gd name="connsiteY42" fmla="*/ 216467 h 419950"/>
                <a:gd name="connsiteX43" fmla="*/ 775084 w 1798344"/>
                <a:gd name="connsiteY43" fmla="*/ 282554 h 419950"/>
                <a:gd name="connsiteX44" fmla="*/ 775084 w 1798344"/>
                <a:gd name="connsiteY44" fmla="*/ 283192 h 419950"/>
                <a:gd name="connsiteX45" fmla="*/ 732172 w 1798344"/>
                <a:gd name="connsiteY45" fmla="*/ 345202 h 419950"/>
                <a:gd name="connsiteX46" fmla="*/ 781197 w 1798344"/>
                <a:gd name="connsiteY46" fmla="*/ 416637 h 419950"/>
                <a:gd name="connsiteX47" fmla="*/ 729754 w 1798344"/>
                <a:gd name="connsiteY47" fmla="*/ 416637 h 419950"/>
                <a:gd name="connsiteX48" fmla="*/ 686842 w 1798344"/>
                <a:gd name="connsiteY48" fmla="*/ 352589 h 419950"/>
                <a:gd name="connsiteX49" fmla="*/ 652208 w 1798344"/>
                <a:gd name="connsiteY49" fmla="*/ 352589 h 419950"/>
                <a:gd name="connsiteX50" fmla="*/ 652208 w 1798344"/>
                <a:gd name="connsiteY50" fmla="*/ 416637 h 419950"/>
                <a:gd name="connsiteX51" fmla="*/ 608149 w 1798344"/>
                <a:gd name="connsiteY51" fmla="*/ 416637 h 419950"/>
                <a:gd name="connsiteX52" fmla="*/ 995754 w 1798344"/>
                <a:gd name="connsiteY52" fmla="*/ 215068 h 419950"/>
                <a:gd name="connsiteX53" fmla="*/ 1036375 w 1798344"/>
                <a:gd name="connsiteY53" fmla="*/ 215068 h 419950"/>
                <a:gd name="connsiteX54" fmla="*/ 1122326 w 1798344"/>
                <a:gd name="connsiteY54" fmla="*/ 416638 h 419950"/>
                <a:gd name="connsiteX55" fmla="*/ 1076232 w 1798344"/>
                <a:gd name="connsiteY55" fmla="*/ 416638 h 419950"/>
                <a:gd name="connsiteX56" fmla="*/ 1057896 w 1798344"/>
                <a:gd name="connsiteY56" fmla="*/ 371689 h 419950"/>
                <a:gd name="connsiteX57" fmla="*/ 973216 w 1798344"/>
                <a:gd name="connsiteY57" fmla="*/ 371689 h 419950"/>
                <a:gd name="connsiteX58" fmla="*/ 954880 w 1798344"/>
                <a:gd name="connsiteY58" fmla="*/ 416638 h 419950"/>
                <a:gd name="connsiteX59" fmla="*/ 909932 w 1798344"/>
                <a:gd name="connsiteY59" fmla="*/ 416638 h 419950"/>
                <a:gd name="connsiteX60" fmla="*/ 446561 w 1798344"/>
                <a:gd name="connsiteY60" fmla="*/ 215068 h 419950"/>
                <a:gd name="connsiteX61" fmla="*/ 489474 w 1798344"/>
                <a:gd name="connsiteY61" fmla="*/ 215068 h 419950"/>
                <a:gd name="connsiteX62" fmla="*/ 575297 w 1798344"/>
                <a:gd name="connsiteY62" fmla="*/ 416638 h 419950"/>
                <a:gd name="connsiteX63" fmla="*/ 529328 w 1798344"/>
                <a:gd name="connsiteY63" fmla="*/ 416638 h 419950"/>
                <a:gd name="connsiteX64" fmla="*/ 510992 w 1798344"/>
                <a:gd name="connsiteY64" fmla="*/ 371689 h 419950"/>
                <a:gd name="connsiteX65" fmla="*/ 426315 w 1798344"/>
                <a:gd name="connsiteY65" fmla="*/ 371689 h 419950"/>
                <a:gd name="connsiteX66" fmla="*/ 407979 w 1798344"/>
                <a:gd name="connsiteY66" fmla="*/ 416638 h 419950"/>
                <a:gd name="connsiteX67" fmla="*/ 363031 w 1798344"/>
                <a:gd name="connsiteY67" fmla="*/ 416638 h 419950"/>
                <a:gd name="connsiteX68" fmla="*/ 104415 w 1798344"/>
                <a:gd name="connsiteY68" fmla="*/ 213029 h 419950"/>
                <a:gd name="connsiteX69" fmla="*/ 183362 w 1798344"/>
                <a:gd name="connsiteY69" fmla="*/ 243846 h 419950"/>
                <a:gd name="connsiteX70" fmla="*/ 155347 w 1798344"/>
                <a:gd name="connsiteY70" fmla="*/ 276188 h 419950"/>
                <a:gd name="connsiteX71" fmla="*/ 104159 w 1798344"/>
                <a:gd name="connsiteY71" fmla="*/ 253650 h 419950"/>
                <a:gd name="connsiteX72" fmla="*/ 46094 w 1798344"/>
                <a:gd name="connsiteY72" fmla="*/ 315916 h 419950"/>
                <a:gd name="connsiteX73" fmla="*/ 46094 w 1798344"/>
                <a:gd name="connsiteY73" fmla="*/ 316552 h 419950"/>
                <a:gd name="connsiteX74" fmla="*/ 104033 w 1798344"/>
                <a:gd name="connsiteY74" fmla="*/ 379329 h 419950"/>
                <a:gd name="connsiteX75" fmla="*/ 156621 w 1798344"/>
                <a:gd name="connsiteY75" fmla="*/ 355898 h 419950"/>
                <a:gd name="connsiteX76" fmla="*/ 184636 w 1798344"/>
                <a:gd name="connsiteY76" fmla="*/ 384167 h 419950"/>
                <a:gd name="connsiteX77" fmla="*/ 102631 w 1798344"/>
                <a:gd name="connsiteY77" fmla="*/ 419950 h 419950"/>
                <a:gd name="connsiteX78" fmla="*/ 0 w 1798344"/>
                <a:gd name="connsiteY78" fmla="*/ 317062 h 419950"/>
                <a:gd name="connsiteX79" fmla="*/ 0 w 1798344"/>
                <a:gd name="connsiteY79" fmla="*/ 316552 h 419950"/>
                <a:gd name="connsiteX80" fmla="*/ 104415 w 1798344"/>
                <a:gd name="connsiteY80" fmla="*/ 213029 h 419950"/>
                <a:gd name="connsiteX81" fmla="*/ 1617913 w 1798344"/>
                <a:gd name="connsiteY81" fmla="*/ 0 h 419950"/>
                <a:gd name="connsiteX82" fmla="*/ 1798344 w 1798344"/>
                <a:gd name="connsiteY82" fmla="*/ 0 h 419950"/>
                <a:gd name="connsiteX83" fmla="*/ 1798344 w 1798344"/>
                <a:gd name="connsiteY83" fmla="*/ 95247 h 419950"/>
                <a:gd name="connsiteX84" fmla="*/ 1690111 w 1798344"/>
                <a:gd name="connsiteY84" fmla="*/ 95247 h 419950"/>
                <a:gd name="connsiteX85" fmla="*/ 1677123 w 1798344"/>
                <a:gd name="connsiteY85" fmla="*/ 108235 h 419950"/>
                <a:gd name="connsiteX86" fmla="*/ 1690111 w 1798344"/>
                <a:gd name="connsiteY86" fmla="*/ 121224 h 419950"/>
                <a:gd name="connsiteX87" fmla="*/ 1798344 w 1798344"/>
                <a:gd name="connsiteY87" fmla="*/ 121224 h 419950"/>
                <a:gd name="connsiteX88" fmla="*/ 1798344 w 1798344"/>
                <a:gd name="connsiteY88" fmla="*/ 216468 h 419950"/>
                <a:gd name="connsiteX89" fmla="*/ 1617913 w 1798344"/>
                <a:gd name="connsiteY89" fmla="*/ 216468 h 419950"/>
                <a:gd name="connsiteX90" fmla="*/ 1581876 w 1798344"/>
                <a:gd name="connsiteY90" fmla="*/ 180434 h 419950"/>
                <a:gd name="connsiteX91" fmla="*/ 1581876 w 1798344"/>
                <a:gd name="connsiteY91" fmla="*/ 36037 h 419950"/>
                <a:gd name="connsiteX92" fmla="*/ 1617913 w 1798344"/>
                <a:gd name="connsiteY92" fmla="*/ 0 h 41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798344" h="419950">
                  <a:moveTo>
                    <a:pt x="1015493" y="267913"/>
                  </a:moveTo>
                  <a:lnTo>
                    <a:pt x="988878" y="332853"/>
                  </a:lnTo>
                  <a:lnTo>
                    <a:pt x="1042105" y="332853"/>
                  </a:lnTo>
                  <a:close/>
                  <a:moveTo>
                    <a:pt x="468589" y="267913"/>
                  </a:moveTo>
                  <a:lnTo>
                    <a:pt x="441977" y="332853"/>
                  </a:lnTo>
                  <a:lnTo>
                    <a:pt x="495204" y="332853"/>
                  </a:lnTo>
                  <a:close/>
                  <a:moveTo>
                    <a:pt x="652079" y="256195"/>
                  </a:moveTo>
                  <a:lnTo>
                    <a:pt x="652079" y="313624"/>
                  </a:lnTo>
                  <a:lnTo>
                    <a:pt x="696645" y="313624"/>
                  </a:lnTo>
                  <a:cubicBezTo>
                    <a:pt x="718038" y="313624"/>
                    <a:pt x="730390" y="302293"/>
                    <a:pt x="730390" y="285356"/>
                  </a:cubicBezTo>
                  <a:lnTo>
                    <a:pt x="730518" y="285356"/>
                  </a:lnTo>
                  <a:lnTo>
                    <a:pt x="730518" y="284720"/>
                  </a:lnTo>
                  <a:cubicBezTo>
                    <a:pt x="730518" y="265874"/>
                    <a:pt x="717274" y="256195"/>
                    <a:pt x="695881" y="256195"/>
                  </a:cubicBezTo>
                  <a:close/>
                  <a:moveTo>
                    <a:pt x="218759" y="216596"/>
                  </a:moveTo>
                  <a:lnTo>
                    <a:pt x="262818" y="216596"/>
                  </a:lnTo>
                  <a:lnTo>
                    <a:pt x="262818" y="376656"/>
                  </a:lnTo>
                  <a:lnTo>
                    <a:pt x="337944" y="376656"/>
                  </a:lnTo>
                  <a:lnTo>
                    <a:pt x="337944" y="416638"/>
                  </a:lnTo>
                  <a:lnTo>
                    <a:pt x="218759" y="416638"/>
                  </a:lnTo>
                  <a:close/>
                  <a:moveTo>
                    <a:pt x="1374576" y="216467"/>
                  </a:moveTo>
                  <a:lnTo>
                    <a:pt x="1540365" y="216467"/>
                  </a:lnTo>
                  <a:lnTo>
                    <a:pt x="1540365" y="257088"/>
                  </a:lnTo>
                  <a:lnTo>
                    <a:pt x="1479499" y="257088"/>
                  </a:lnTo>
                  <a:lnTo>
                    <a:pt x="1479499" y="416637"/>
                  </a:lnTo>
                  <a:lnTo>
                    <a:pt x="1435440" y="416637"/>
                  </a:lnTo>
                  <a:lnTo>
                    <a:pt x="1435440" y="257088"/>
                  </a:lnTo>
                  <a:lnTo>
                    <a:pt x="1374576" y="257088"/>
                  </a:lnTo>
                  <a:close/>
                  <a:moveTo>
                    <a:pt x="1155049" y="216467"/>
                  </a:moveTo>
                  <a:lnTo>
                    <a:pt x="1195670" y="216467"/>
                  </a:lnTo>
                  <a:lnTo>
                    <a:pt x="1289389" y="339729"/>
                  </a:lnTo>
                  <a:lnTo>
                    <a:pt x="1289389" y="216467"/>
                  </a:lnTo>
                  <a:lnTo>
                    <a:pt x="1332937" y="216467"/>
                  </a:lnTo>
                  <a:lnTo>
                    <a:pt x="1332937" y="416637"/>
                  </a:lnTo>
                  <a:lnTo>
                    <a:pt x="1295373" y="416637"/>
                  </a:lnTo>
                  <a:lnTo>
                    <a:pt x="1198472" y="289430"/>
                  </a:lnTo>
                  <a:lnTo>
                    <a:pt x="1198472" y="416637"/>
                  </a:lnTo>
                  <a:lnTo>
                    <a:pt x="1155049" y="416637"/>
                  </a:lnTo>
                  <a:close/>
                  <a:moveTo>
                    <a:pt x="831111" y="216467"/>
                  </a:moveTo>
                  <a:lnTo>
                    <a:pt x="875170" y="216467"/>
                  </a:lnTo>
                  <a:lnTo>
                    <a:pt x="875170" y="416637"/>
                  </a:lnTo>
                  <a:lnTo>
                    <a:pt x="831111" y="416637"/>
                  </a:lnTo>
                  <a:close/>
                  <a:moveTo>
                    <a:pt x="608149" y="216467"/>
                  </a:moveTo>
                  <a:lnTo>
                    <a:pt x="699576" y="216467"/>
                  </a:lnTo>
                  <a:cubicBezTo>
                    <a:pt x="746816" y="216467"/>
                    <a:pt x="775084" y="241426"/>
                    <a:pt x="775084" y="282554"/>
                  </a:cubicBezTo>
                  <a:lnTo>
                    <a:pt x="775084" y="283192"/>
                  </a:lnTo>
                  <a:cubicBezTo>
                    <a:pt x="775084" y="315534"/>
                    <a:pt x="757641" y="335780"/>
                    <a:pt x="732172" y="345202"/>
                  </a:cubicBezTo>
                  <a:lnTo>
                    <a:pt x="781197" y="416637"/>
                  </a:lnTo>
                  <a:lnTo>
                    <a:pt x="729754" y="416637"/>
                  </a:lnTo>
                  <a:lnTo>
                    <a:pt x="686842" y="352589"/>
                  </a:lnTo>
                  <a:lnTo>
                    <a:pt x="652208" y="352589"/>
                  </a:lnTo>
                  <a:lnTo>
                    <a:pt x="652208" y="416637"/>
                  </a:lnTo>
                  <a:lnTo>
                    <a:pt x="608149" y="416637"/>
                  </a:lnTo>
                  <a:close/>
                  <a:moveTo>
                    <a:pt x="995754" y="215068"/>
                  </a:moveTo>
                  <a:lnTo>
                    <a:pt x="1036375" y="215068"/>
                  </a:lnTo>
                  <a:lnTo>
                    <a:pt x="1122326" y="416638"/>
                  </a:lnTo>
                  <a:lnTo>
                    <a:pt x="1076232" y="416638"/>
                  </a:lnTo>
                  <a:lnTo>
                    <a:pt x="1057896" y="371689"/>
                  </a:lnTo>
                  <a:lnTo>
                    <a:pt x="973216" y="371689"/>
                  </a:lnTo>
                  <a:lnTo>
                    <a:pt x="954880" y="416638"/>
                  </a:lnTo>
                  <a:lnTo>
                    <a:pt x="909932" y="416638"/>
                  </a:lnTo>
                  <a:close/>
                  <a:moveTo>
                    <a:pt x="446561" y="215068"/>
                  </a:moveTo>
                  <a:lnTo>
                    <a:pt x="489474" y="215068"/>
                  </a:lnTo>
                  <a:lnTo>
                    <a:pt x="575297" y="416638"/>
                  </a:lnTo>
                  <a:lnTo>
                    <a:pt x="529328" y="416638"/>
                  </a:lnTo>
                  <a:lnTo>
                    <a:pt x="510992" y="371689"/>
                  </a:lnTo>
                  <a:lnTo>
                    <a:pt x="426315" y="371689"/>
                  </a:lnTo>
                  <a:lnTo>
                    <a:pt x="407979" y="416638"/>
                  </a:lnTo>
                  <a:lnTo>
                    <a:pt x="363031" y="416638"/>
                  </a:lnTo>
                  <a:close/>
                  <a:moveTo>
                    <a:pt x="104415" y="213029"/>
                  </a:moveTo>
                  <a:cubicBezTo>
                    <a:pt x="142234" y="213029"/>
                    <a:pt x="164772" y="225510"/>
                    <a:pt x="183362" y="243846"/>
                  </a:cubicBezTo>
                  <a:lnTo>
                    <a:pt x="155347" y="276188"/>
                  </a:lnTo>
                  <a:cubicBezTo>
                    <a:pt x="139942" y="262182"/>
                    <a:pt x="124151" y="253650"/>
                    <a:pt x="104159" y="253650"/>
                  </a:cubicBezTo>
                  <a:cubicBezTo>
                    <a:pt x="70417" y="253650"/>
                    <a:pt x="46094" y="281664"/>
                    <a:pt x="46094" y="315916"/>
                  </a:cubicBezTo>
                  <a:lnTo>
                    <a:pt x="46094" y="316552"/>
                  </a:lnTo>
                  <a:cubicBezTo>
                    <a:pt x="46094" y="350932"/>
                    <a:pt x="69778" y="379457"/>
                    <a:pt x="104033" y="379329"/>
                  </a:cubicBezTo>
                  <a:cubicBezTo>
                    <a:pt x="126825" y="379329"/>
                    <a:pt x="140831" y="370161"/>
                    <a:pt x="156621" y="355898"/>
                  </a:cubicBezTo>
                  <a:lnTo>
                    <a:pt x="184636" y="384167"/>
                  </a:lnTo>
                  <a:cubicBezTo>
                    <a:pt x="164133" y="406198"/>
                    <a:pt x="141213" y="419950"/>
                    <a:pt x="102631" y="419950"/>
                  </a:cubicBezTo>
                  <a:cubicBezTo>
                    <a:pt x="43802" y="419950"/>
                    <a:pt x="0" y="374491"/>
                    <a:pt x="0" y="317062"/>
                  </a:cubicBezTo>
                  <a:lnTo>
                    <a:pt x="0" y="316552"/>
                  </a:lnTo>
                  <a:cubicBezTo>
                    <a:pt x="0" y="259633"/>
                    <a:pt x="42913" y="213029"/>
                    <a:pt x="104415" y="213029"/>
                  </a:cubicBezTo>
                  <a:close/>
                  <a:moveTo>
                    <a:pt x="1617913" y="0"/>
                  </a:moveTo>
                  <a:lnTo>
                    <a:pt x="1798344" y="0"/>
                  </a:lnTo>
                  <a:lnTo>
                    <a:pt x="1798344" y="95247"/>
                  </a:lnTo>
                  <a:lnTo>
                    <a:pt x="1690111" y="95247"/>
                  </a:lnTo>
                  <a:cubicBezTo>
                    <a:pt x="1682979" y="95247"/>
                    <a:pt x="1677123" y="101103"/>
                    <a:pt x="1677123" y="108235"/>
                  </a:cubicBezTo>
                  <a:cubicBezTo>
                    <a:pt x="1677123" y="115365"/>
                    <a:pt x="1682979" y="121224"/>
                    <a:pt x="1690111" y="121224"/>
                  </a:cubicBezTo>
                  <a:lnTo>
                    <a:pt x="1798344" y="121224"/>
                  </a:lnTo>
                  <a:lnTo>
                    <a:pt x="1798344" y="216468"/>
                  </a:lnTo>
                  <a:lnTo>
                    <a:pt x="1617913" y="216468"/>
                  </a:lnTo>
                  <a:cubicBezTo>
                    <a:pt x="1598048" y="216468"/>
                    <a:pt x="1581876" y="200424"/>
                    <a:pt x="1581876" y="180434"/>
                  </a:cubicBezTo>
                  <a:lnTo>
                    <a:pt x="1581876" y="36037"/>
                  </a:lnTo>
                  <a:cubicBezTo>
                    <a:pt x="1581876" y="16173"/>
                    <a:pt x="1597920" y="0"/>
                    <a:pt x="1617913" y="0"/>
                  </a:cubicBezTo>
                  <a:close/>
                </a:path>
              </a:pathLst>
            </a:custGeom>
            <a:solidFill>
              <a:schemeClr val="tx2"/>
            </a:solidFill>
            <a:ln w="3040" cap="flat">
              <a:noFill/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17" name="Claim">
              <a:extLst>
                <a:ext uri="{FF2B5EF4-FFF2-40B4-BE49-F238E27FC236}">
                  <a16:creationId xmlns:a16="http://schemas.microsoft.com/office/drawing/2014/main" id="{2B1480D2-3FAF-4725-B175-D8B1DD63CD96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10411200" y="6317575"/>
              <a:ext cx="1306800" cy="130539"/>
            </a:xfrm>
            <a:custGeom>
              <a:avLst/>
              <a:gdLst>
                <a:gd name="connsiteX0" fmla="*/ 216732 w 966597"/>
                <a:gd name="connsiteY0" fmla="*/ 52435 h 96555"/>
                <a:gd name="connsiteX1" fmla="*/ 203645 w 966597"/>
                <a:gd name="connsiteY1" fmla="*/ 61627 h 96555"/>
                <a:gd name="connsiteX2" fmla="*/ 203645 w 966597"/>
                <a:gd name="connsiteY2" fmla="*/ 61846 h 96555"/>
                <a:gd name="connsiteX3" fmla="*/ 214674 w 966597"/>
                <a:gd name="connsiteY3" fmla="*/ 70275 h 96555"/>
                <a:gd name="connsiteX4" fmla="*/ 229819 w 966597"/>
                <a:gd name="connsiteY4" fmla="*/ 58274 h 96555"/>
                <a:gd name="connsiteX5" fmla="*/ 229819 w 966597"/>
                <a:gd name="connsiteY5" fmla="*/ 54712 h 96555"/>
                <a:gd name="connsiteX6" fmla="*/ 216732 w 966597"/>
                <a:gd name="connsiteY6" fmla="*/ 52435 h 96555"/>
                <a:gd name="connsiteX7" fmla="*/ 594312 w 966597"/>
                <a:gd name="connsiteY7" fmla="*/ 31356 h 96555"/>
                <a:gd name="connsiteX8" fmla="*/ 579501 w 966597"/>
                <a:gd name="connsiteY8" fmla="*/ 46387 h 96555"/>
                <a:gd name="connsiteX9" fmla="*/ 608799 w 966597"/>
                <a:gd name="connsiteY9" fmla="*/ 46387 h 96555"/>
                <a:gd name="connsiteX10" fmla="*/ 594312 w 966597"/>
                <a:gd name="connsiteY10" fmla="*/ 31356 h 96555"/>
                <a:gd name="connsiteX11" fmla="*/ 324287 w 966597"/>
                <a:gd name="connsiteY11" fmla="*/ 31356 h 96555"/>
                <a:gd name="connsiteX12" fmla="*/ 309476 w 966597"/>
                <a:gd name="connsiteY12" fmla="*/ 46387 h 96555"/>
                <a:gd name="connsiteX13" fmla="*/ 338775 w 966597"/>
                <a:gd name="connsiteY13" fmla="*/ 46387 h 96555"/>
                <a:gd name="connsiteX14" fmla="*/ 324287 w 966597"/>
                <a:gd name="connsiteY14" fmla="*/ 31356 h 96555"/>
                <a:gd name="connsiteX15" fmla="*/ 153400 w 966597"/>
                <a:gd name="connsiteY15" fmla="*/ 31356 h 96555"/>
                <a:gd name="connsiteX16" fmla="*/ 138579 w 966597"/>
                <a:gd name="connsiteY16" fmla="*/ 46387 h 96555"/>
                <a:gd name="connsiteX17" fmla="*/ 167888 w 966597"/>
                <a:gd name="connsiteY17" fmla="*/ 46387 h 96555"/>
                <a:gd name="connsiteX18" fmla="*/ 153400 w 966597"/>
                <a:gd name="connsiteY18" fmla="*/ 31356 h 96555"/>
                <a:gd name="connsiteX19" fmla="*/ 907980 w 966597"/>
                <a:gd name="connsiteY19" fmla="*/ 21841 h 96555"/>
                <a:gd name="connsiteX20" fmla="*/ 921934 w 966597"/>
                <a:gd name="connsiteY20" fmla="*/ 21841 h 96555"/>
                <a:gd name="connsiteX21" fmla="*/ 938155 w 966597"/>
                <a:gd name="connsiteY21" fmla="*/ 64227 h 96555"/>
                <a:gd name="connsiteX22" fmla="*/ 952976 w 966597"/>
                <a:gd name="connsiteY22" fmla="*/ 21841 h 96555"/>
                <a:gd name="connsiteX23" fmla="*/ 966597 w 966597"/>
                <a:gd name="connsiteY23" fmla="*/ 21841 h 96555"/>
                <a:gd name="connsiteX24" fmla="*/ 943899 w 966597"/>
                <a:gd name="connsiteY24" fmla="*/ 80553 h 96555"/>
                <a:gd name="connsiteX25" fmla="*/ 925077 w 966597"/>
                <a:gd name="connsiteY25" fmla="*/ 96555 h 96555"/>
                <a:gd name="connsiteX26" fmla="*/ 911561 w 966597"/>
                <a:gd name="connsiteY26" fmla="*/ 93098 h 96555"/>
                <a:gd name="connsiteX27" fmla="*/ 915991 w 966597"/>
                <a:gd name="connsiteY27" fmla="*/ 83363 h 96555"/>
                <a:gd name="connsiteX28" fmla="*/ 923668 w 966597"/>
                <a:gd name="connsiteY28" fmla="*/ 85525 h 96555"/>
                <a:gd name="connsiteX29" fmla="*/ 931773 w 966597"/>
                <a:gd name="connsiteY29" fmla="*/ 78934 h 96555"/>
                <a:gd name="connsiteX30" fmla="*/ 738397 w 966597"/>
                <a:gd name="connsiteY30" fmla="*/ 21841 h 96555"/>
                <a:gd name="connsiteX31" fmla="*/ 751484 w 966597"/>
                <a:gd name="connsiteY31" fmla="*/ 21841 h 96555"/>
                <a:gd name="connsiteX32" fmla="*/ 751484 w 966597"/>
                <a:gd name="connsiteY32" fmla="*/ 78934 h 96555"/>
                <a:gd name="connsiteX33" fmla="*/ 738397 w 966597"/>
                <a:gd name="connsiteY33" fmla="*/ 78934 h 96555"/>
                <a:gd name="connsiteX34" fmla="*/ 217389 w 966597"/>
                <a:gd name="connsiteY34" fmla="*/ 20974 h 96555"/>
                <a:gd name="connsiteX35" fmla="*/ 242478 w 966597"/>
                <a:gd name="connsiteY35" fmla="*/ 45091 h 96555"/>
                <a:gd name="connsiteX36" fmla="*/ 242478 w 966597"/>
                <a:gd name="connsiteY36" fmla="*/ 78934 h 96555"/>
                <a:gd name="connsiteX37" fmla="*/ 229495 w 966597"/>
                <a:gd name="connsiteY37" fmla="*/ 78934 h 96555"/>
                <a:gd name="connsiteX38" fmla="*/ 229495 w 966597"/>
                <a:gd name="connsiteY38" fmla="*/ 71904 h 96555"/>
                <a:gd name="connsiteX39" fmla="*/ 211007 w 966597"/>
                <a:gd name="connsiteY39" fmla="*/ 80124 h 96555"/>
                <a:gd name="connsiteX40" fmla="*/ 190681 w 966597"/>
                <a:gd name="connsiteY40" fmla="*/ 62503 h 96555"/>
                <a:gd name="connsiteX41" fmla="*/ 190681 w 966597"/>
                <a:gd name="connsiteY41" fmla="*/ 62293 h 96555"/>
                <a:gd name="connsiteX42" fmla="*/ 213827 w 966597"/>
                <a:gd name="connsiteY42" fmla="*/ 43910 h 96555"/>
                <a:gd name="connsiteX43" fmla="*/ 229610 w 966597"/>
                <a:gd name="connsiteY43" fmla="*/ 46282 h 96555"/>
                <a:gd name="connsiteX44" fmla="*/ 229610 w 966597"/>
                <a:gd name="connsiteY44" fmla="*/ 44882 h 96555"/>
                <a:gd name="connsiteX45" fmla="*/ 215551 w 966597"/>
                <a:gd name="connsiteY45" fmla="*/ 32661 h 96555"/>
                <a:gd name="connsiteX46" fmla="*/ 199225 w 966597"/>
                <a:gd name="connsiteY46" fmla="*/ 36233 h 96555"/>
                <a:gd name="connsiteX47" fmla="*/ 195653 w 966597"/>
                <a:gd name="connsiteY47" fmla="*/ 25737 h 96555"/>
                <a:gd name="connsiteX48" fmla="*/ 217389 w 966597"/>
                <a:gd name="connsiteY48" fmla="*/ 20974 h 96555"/>
                <a:gd name="connsiteX49" fmla="*/ 786517 w 966597"/>
                <a:gd name="connsiteY49" fmla="*/ 20879 h 96555"/>
                <a:gd name="connsiteX50" fmla="*/ 807500 w 966597"/>
                <a:gd name="connsiteY50" fmla="*/ 27366 h 96555"/>
                <a:gd name="connsiteX51" fmla="*/ 802309 w 966597"/>
                <a:gd name="connsiteY51" fmla="*/ 36662 h 96555"/>
                <a:gd name="connsiteX52" fmla="*/ 786202 w 966597"/>
                <a:gd name="connsiteY52" fmla="*/ 31252 h 96555"/>
                <a:gd name="connsiteX53" fmla="*/ 778201 w 966597"/>
                <a:gd name="connsiteY53" fmla="*/ 36986 h 96555"/>
                <a:gd name="connsiteX54" fmla="*/ 778201 w 966597"/>
                <a:gd name="connsiteY54" fmla="*/ 37195 h 96555"/>
                <a:gd name="connsiteX55" fmla="*/ 791070 w 966597"/>
                <a:gd name="connsiteY55" fmla="*/ 45196 h 96555"/>
                <a:gd name="connsiteX56" fmla="*/ 808805 w 966597"/>
                <a:gd name="connsiteY56" fmla="*/ 61846 h 96555"/>
                <a:gd name="connsiteX57" fmla="*/ 808805 w 966597"/>
                <a:gd name="connsiteY57" fmla="*/ 62065 h 96555"/>
                <a:gd name="connsiteX58" fmla="*/ 787593 w 966597"/>
                <a:gd name="connsiteY58" fmla="*/ 80020 h 96555"/>
                <a:gd name="connsiteX59" fmla="*/ 763371 w 966597"/>
                <a:gd name="connsiteY59" fmla="*/ 71476 h 96555"/>
                <a:gd name="connsiteX60" fmla="*/ 769219 w 966597"/>
                <a:gd name="connsiteY60" fmla="*/ 62608 h 96555"/>
                <a:gd name="connsiteX61" fmla="*/ 787917 w 966597"/>
                <a:gd name="connsiteY61" fmla="*/ 69637 h 96555"/>
                <a:gd name="connsiteX62" fmla="*/ 796785 w 966597"/>
                <a:gd name="connsiteY62" fmla="*/ 63475 h 96555"/>
                <a:gd name="connsiteX63" fmla="*/ 796785 w 966597"/>
                <a:gd name="connsiteY63" fmla="*/ 63256 h 96555"/>
                <a:gd name="connsiteX64" fmla="*/ 784031 w 966597"/>
                <a:gd name="connsiteY64" fmla="*/ 55255 h 96555"/>
                <a:gd name="connsiteX65" fmla="*/ 766190 w 966597"/>
                <a:gd name="connsiteY65" fmla="*/ 38500 h 96555"/>
                <a:gd name="connsiteX66" fmla="*/ 766190 w 966597"/>
                <a:gd name="connsiteY66" fmla="*/ 38281 h 96555"/>
                <a:gd name="connsiteX67" fmla="*/ 786517 w 966597"/>
                <a:gd name="connsiteY67" fmla="*/ 20879 h 96555"/>
                <a:gd name="connsiteX68" fmla="*/ 900989 w 966597"/>
                <a:gd name="connsiteY68" fmla="*/ 20764 h 96555"/>
                <a:gd name="connsiteX69" fmla="*/ 900989 w 966597"/>
                <a:gd name="connsiteY69" fmla="*/ 34604 h 96555"/>
                <a:gd name="connsiteX70" fmla="*/ 900237 w 966597"/>
                <a:gd name="connsiteY70" fmla="*/ 34604 h 96555"/>
                <a:gd name="connsiteX71" fmla="*/ 880767 w 966597"/>
                <a:gd name="connsiteY71" fmla="*/ 57197 h 96555"/>
                <a:gd name="connsiteX72" fmla="*/ 880767 w 966597"/>
                <a:gd name="connsiteY72" fmla="*/ 78933 h 96555"/>
                <a:gd name="connsiteX73" fmla="*/ 867680 w 966597"/>
                <a:gd name="connsiteY73" fmla="*/ 78933 h 96555"/>
                <a:gd name="connsiteX74" fmla="*/ 867680 w 966597"/>
                <a:gd name="connsiteY74" fmla="*/ 21840 h 96555"/>
                <a:gd name="connsiteX75" fmla="*/ 880767 w 966597"/>
                <a:gd name="connsiteY75" fmla="*/ 21840 h 96555"/>
                <a:gd name="connsiteX76" fmla="*/ 880767 w 966597"/>
                <a:gd name="connsiteY76" fmla="*/ 34718 h 96555"/>
                <a:gd name="connsiteX77" fmla="*/ 900989 w 966597"/>
                <a:gd name="connsiteY77" fmla="*/ 20764 h 96555"/>
                <a:gd name="connsiteX78" fmla="*/ 397154 w 966597"/>
                <a:gd name="connsiteY78" fmla="*/ 20764 h 96555"/>
                <a:gd name="connsiteX79" fmla="*/ 397154 w 966597"/>
                <a:gd name="connsiteY79" fmla="*/ 34604 h 96555"/>
                <a:gd name="connsiteX80" fmla="*/ 396401 w 966597"/>
                <a:gd name="connsiteY80" fmla="*/ 34604 h 96555"/>
                <a:gd name="connsiteX81" fmla="*/ 376932 w 966597"/>
                <a:gd name="connsiteY81" fmla="*/ 57197 h 96555"/>
                <a:gd name="connsiteX82" fmla="*/ 376932 w 966597"/>
                <a:gd name="connsiteY82" fmla="*/ 78933 h 96555"/>
                <a:gd name="connsiteX83" fmla="*/ 363845 w 966597"/>
                <a:gd name="connsiteY83" fmla="*/ 78933 h 96555"/>
                <a:gd name="connsiteX84" fmla="*/ 363845 w 966597"/>
                <a:gd name="connsiteY84" fmla="*/ 21840 h 96555"/>
                <a:gd name="connsiteX85" fmla="*/ 376932 w 966597"/>
                <a:gd name="connsiteY85" fmla="*/ 21840 h 96555"/>
                <a:gd name="connsiteX86" fmla="*/ 376932 w 966597"/>
                <a:gd name="connsiteY86" fmla="*/ 34718 h 96555"/>
                <a:gd name="connsiteX87" fmla="*/ 397154 w 966597"/>
                <a:gd name="connsiteY87" fmla="*/ 20764 h 96555"/>
                <a:gd name="connsiteX88" fmla="*/ 118815 w 966597"/>
                <a:gd name="connsiteY88" fmla="*/ 20764 h 96555"/>
                <a:gd name="connsiteX89" fmla="*/ 118815 w 966597"/>
                <a:gd name="connsiteY89" fmla="*/ 34604 h 96555"/>
                <a:gd name="connsiteX90" fmla="*/ 118062 w 966597"/>
                <a:gd name="connsiteY90" fmla="*/ 34604 h 96555"/>
                <a:gd name="connsiteX91" fmla="*/ 98603 w 966597"/>
                <a:gd name="connsiteY91" fmla="*/ 57197 h 96555"/>
                <a:gd name="connsiteX92" fmla="*/ 98603 w 966597"/>
                <a:gd name="connsiteY92" fmla="*/ 78933 h 96555"/>
                <a:gd name="connsiteX93" fmla="*/ 98593 w 966597"/>
                <a:gd name="connsiteY93" fmla="*/ 78933 h 96555"/>
                <a:gd name="connsiteX94" fmla="*/ 85506 w 966597"/>
                <a:gd name="connsiteY94" fmla="*/ 78933 h 96555"/>
                <a:gd name="connsiteX95" fmla="*/ 85506 w 966597"/>
                <a:gd name="connsiteY95" fmla="*/ 21840 h 96555"/>
                <a:gd name="connsiteX96" fmla="*/ 98593 w 966597"/>
                <a:gd name="connsiteY96" fmla="*/ 21840 h 96555"/>
                <a:gd name="connsiteX97" fmla="*/ 98593 w 966597"/>
                <a:gd name="connsiteY97" fmla="*/ 34718 h 96555"/>
                <a:gd name="connsiteX98" fmla="*/ 118815 w 966597"/>
                <a:gd name="connsiteY98" fmla="*/ 20764 h 96555"/>
                <a:gd name="connsiteX99" fmla="*/ 702316 w 966597"/>
                <a:gd name="connsiteY99" fmla="*/ 20650 h 96555"/>
                <a:gd name="connsiteX100" fmla="*/ 722319 w 966597"/>
                <a:gd name="connsiteY100" fmla="*/ 42491 h 96555"/>
                <a:gd name="connsiteX101" fmla="*/ 722319 w 966597"/>
                <a:gd name="connsiteY101" fmla="*/ 78933 h 96555"/>
                <a:gd name="connsiteX102" fmla="*/ 709232 w 966597"/>
                <a:gd name="connsiteY102" fmla="*/ 78933 h 96555"/>
                <a:gd name="connsiteX103" fmla="*/ 709232 w 966597"/>
                <a:gd name="connsiteY103" fmla="*/ 46491 h 96555"/>
                <a:gd name="connsiteX104" fmla="*/ 697659 w 966597"/>
                <a:gd name="connsiteY104" fmla="*/ 32537 h 96555"/>
                <a:gd name="connsiteX105" fmla="*/ 685438 w 966597"/>
                <a:gd name="connsiteY105" fmla="*/ 46710 h 96555"/>
                <a:gd name="connsiteX106" fmla="*/ 685438 w 966597"/>
                <a:gd name="connsiteY106" fmla="*/ 78933 h 96555"/>
                <a:gd name="connsiteX107" fmla="*/ 672351 w 966597"/>
                <a:gd name="connsiteY107" fmla="*/ 78933 h 96555"/>
                <a:gd name="connsiteX108" fmla="*/ 672351 w 966597"/>
                <a:gd name="connsiteY108" fmla="*/ 46387 h 96555"/>
                <a:gd name="connsiteX109" fmla="*/ 660778 w 966597"/>
                <a:gd name="connsiteY109" fmla="*/ 32547 h 96555"/>
                <a:gd name="connsiteX110" fmla="*/ 648557 w 966597"/>
                <a:gd name="connsiteY110" fmla="*/ 46825 h 96555"/>
                <a:gd name="connsiteX111" fmla="*/ 648557 w 966597"/>
                <a:gd name="connsiteY111" fmla="*/ 78943 h 96555"/>
                <a:gd name="connsiteX112" fmla="*/ 635470 w 966597"/>
                <a:gd name="connsiteY112" fmla="*/ 78943 h 96555"/>
                <a:gd name="connsiteX113" fmla="*/ 635470 w 966597"/>
                <a:gd name="connsiteY113" fmla="*/ 21850 h 96555"/>
                <a:gd name="connsiteX114" fmla="*/ 648557 w 966597"/>
                <a:gd name="connsiteY114" fmla="*/ 21850 h 96555"/>
                <a:gd name="connsiteX115" fmla="*/ 648557 w 966597"/>
                <a:gd name="connsiteY115" fmla="*/ 30499 h 96555"/>
                <a:gd name="connsiteX116" fmla="*/ 665969 w 966597"/>
                <a:gd name="connsiteY116" fmla="*/ 20660 h 96555"/>
                <a:gd name="connsiteX117" fmla="*/ 682943 w 966597"/>
                <a:gd name="connsiteY117" fmla="*/ 30718 h 96555"/>
                <a:gd name="connsiteX118" fmla="*/ 702316 w 966597"/>
                <a:gd name="connsiteY118" fmla="*/ 20650 h 96555"/>
                <a:gd name="connsiteX119" fmla="*/ 594436 w 966597"/>
                <a:gd name="connsiteY119" fmla="*/ 20650 h 96555"/>
                <a:gd name="connsiteX120" fmla="*/ 621801 w 966597"/>
                <a:gd name="connsiteY120" fmla="*/ 51473 h 96555"/>
                <a:gd name="connsiteX121" fmla="*/ 621582 w 966597"/>
                <a:gd name="connsiteY121" fmla="*/ 55035 h 96555"/>
                <a:gd name="connsiteX122" fmla="*/ 579624 w 966597"/>
                <a:gd name="connsiteY122" fmla="*/ 55035 h 96555"/>
                <a:gd name="connsiteX123" fmla="*/ 596045 w 966597"/>
                <a:gd name="connsiteY123" fmla="*/ 69523 h 96555"/>
                <a:gd name="connsiteX124" fmla="*/ 611514 w 966597"/>
                <a:gd name="connsiteY124" fmla="*/ 62712 h 96555"/>
                <a:gd name="connsiteX125" fmla="*/ 619191 w 966597"/>
                <a:gd name="connsiteY125" fmla="*/ 69523 h 96555"/>
                <a:gd name="connsiteX126" fmla="*/ 595836 w 966597"/>
                <a:gd name="connsiteY126" fmla="*/ 80229 h 96555"/>
                <a:gd name="connsiteX127" fmla="*/ 566537 w 966597"/>
                <a:gd name="connsiteY127" fmla="*/ 50492 h 96555"/>
                <a:gd name="connsiteX128" fmla="*/ 594436 w 966597"/>
                <a:gd name="connsiteY128" fmla="*/ 20650 h 96555"/>
                <a:gd name="connsiteX129" fmla="*/ 467410 w 966597"/>
                <a:gd name="connsiteY129" fmla="*/ 20650 h 96555"/>
                <a:gd name="connsiteX130" fmla="*/ 490223 w 966597"/>
                <a:gd name="connsiteY130" fmla="*/ 30489 h 96555"/>
                <a:gd name="connsiteX131" fmla="*/ 482117 w 966597"/>
                <a:gd name="connsiteY131" fmla="*/ 39252 h 96555"/>
                <a:gd name="connsiteX132" fmla="*/ 467296 w 966597"/>
                <a:gd name="connsiteY132" fmla="*/ 32109 h 96555"/>
                <a:gd name="connsiteX133" fmla="*/ 450856 w 966597"/>
                <a:gd name="connsiteY133" fmla="*/ 50378 h 96555"/>
                <a:gd name="connsiteX134" fmla="*/ 467944 w 966597"/>
                <a:gd name="connsiteY134" fmla="*/ 68866 h 96555"/>
                <a:gd name="connsiteX135" fmla="*/ 482765 w 966597"/>
                <a:gd name="connsiteY135" fmla="*/ 61722 h 96555"/>
                <a:gd name="connsiteX136" fmla="*/ 490661 w 966597"/>
                <a:gd name="connsiteY136" fmla="*/ 69504 h 96555"/>
                <a:gd name="connsiteX137" fmla="*/ 467306 w 966597"/>
                <a:gd name="connsiteY137" fmla="*/ 80229 h 96555"/>
                <a:gd name="connsiteX138" fmla="*/ 437778 w 966597"/>
                <a:gd name="connsiteY138" fmla="*/ 50606 h 96555"/>
                <a:gd name="connsiteX139" fmla="*/ 467410 w 966597"/>
                <a:gd name="connsiteY139" fmla="*/ 20650 h 96555"/>
                <a:gd name="connsiteX140" fmla="*/ 324402 w 966597"/>
                <a:gd name="connsiteY140" fmla="*/ 20650 h 96555"/>
                <a:gd name="connsiteX141" fmla="*/ 351767 w 966597"/>
                <a:gd name="connsiteY141" fmla="*/ 51473 h 96555"/>
                <a:gd name="connsiteX142" fmla="*/ 351548 w 966597"/>
                <a:gd name="connsiteY142" fmla="*/ 55035 h 96555"/>
                <a:gd name="connsiteX143" fmla="*/ 309590 w 966597"/>
                <a:gd name="connsiteY143" fmla="*/ 55035 h 96555"/>
                <a:gd name="connsiteX144" fmla="*/ 326021 w 966597"/>
                <a:gd name="connsiteY144" fmla="*/ 69523 h 96555"/>
                <a:gd name="connsiteX145" fmla="*/ 341490 w 966597"/>
                <a:gd name="connsiteY145" fmla="*/ 62712 h 96555"/>
                <a:gd name="connsiteX146" fmla="*/ 349167 w 966597"/>
                <a:gd name="connsiteY146" fmla="*/ 69523 h 96555"/>
                <a:gd name="connsiteX147" fmla="*/ 325811 w 966597"/>
                <a:gd name="connsiteY147" fmla="*/ 80229 h 96555"/>
                <a:gd name="connsiteX148" fmla="*/ 296503 w 966597"/>
                <a:gd name="connsiteY148" fmla="*/ 50492 h 96555"/>
                <a:gd name="connsiteX149" fmla="*/ 324402 w 966597"/>
                <a:gd name="connsiteY149" fmla="*/ 20650 h 96555"/>
                <a:gd name="connsiteX150" fmla="*/ 153505 w 966597"/>
                <a:gd name="connsiteY150" fmla="*/ 20650 h 96555"/>
                <a:gd name="connsiteX151" fmla="*/ 180861 w 966597"/>
                <a:gd name="connsiteY151" fmla="*/ 51473 h 96555"/>
                <a:gd name="connsiteX152" fmla="*/ 180641 w 966597"/>
                <a:gd name="connsiteY152" fmla="*/ 55035 h 96555"/>
                <a:gd name="connsiteX153" fmla="*/ 138684 w 966597"/>
                <a:gd name="connsiteY153" fmla="*/ 55035 h 96555"/>
                <a:gd name="connsiteX154" fmla="*/ 155124 w 966597"/>
                <a:gd name="connsiteY154" fmla="*/ 69523 h 96555"/>
                <a:gd name="connsiteX155" fmla="*/ 170593 w 966597"/>
                <a:gd name="connsiteY155" fmla="*/ 62712 h 96555"/>
                <a:gd name="connsiteX156" fmla="*/ 178270 w 966597"/>
                <a:gd name="connsiteY156" fmla="*/ 69523 h 96555"/>
                <a:gd name="connsiteX157" fmla="*/ 154914 w 966597"/>
                <a:gd name="connsiteY157" fmla="*/ 80229 h 96555"/>
                <a:gd name="connsiteX158" fmla="*/ 125606 w 966597"/>
                <a:gd name="connsiteY158" fmla="*/ 50492 h 96555"/>
                <a:gd name="connsiteX159" fmla="*/ 153505 w 966597"/>
                <a:gd name="connsiteY159" fmla="*/ 20650 h 96555"/>
                <a:gd name="connsiteX160" fmla="*/ 824760 w 966597"/>
                <a:gd name="connsiteY160" fmla="*/ 6163 h 96555"/>
                <a:gd name="connsiteX161" fmla="*/ 837847 w 966597"/>
                <a:gd name="connsiteY161" fmla="*/ 6163 h 96555"/>
                <a:gd name="connsiteX162" fmla="*/ 837847 w 966597"/>
                <a:gd name="connsiteY162" fmla="*/ 21841 h 96555"/>
                <a:gd name="connsiteX163" fmla="*/ 853201 w 966597"/>
                <a:gd name="connsiteY163" fmla="*/ 21841 h 96555"/>
                <a:gd name="connsiteX164" fmla="*/ 853201 w 966597"/>
                <a:gd name="connsiteY164" fmla="*/ 33090 h 96555"/>
                <a:gd name="connsiteX165" fmla="*/ 837847 w 966597"/>
                <a:gd name="connsiteY165" fmla="*/ 33090 h 96555"/>
                <a:gd name="connsiteX166" fmla="*/ 837847 w 966597"/>
                <a:gd name="connsiteY166" fmla="*/ 61094 h 96555"/>
                <a:gd name="connsiteX167" fmla="*/ 844876 w 966597"/>
                <a:gd name="connsiteY167" fmla="*/ 68237 h 96555"/>
                <a:gd name="connsiteX168" fmla="*/ 852982 w 966597"/>
                <a:gd name="connsiteY168" fmla="*/ 66285 h 96555"/>
                <a:gd name="connsiteX169" fmla="*/ 852982 w 966597"/>
                <a:gd name="connsiteY169" fmla="*/ 77000 h 96555"/>
                <a:gd name="connsiteX170" fmla="*/ 841190 w 966597"/>
                <a:gd name="connsiteY170" fmla="*/ 79915 h 96555"/>
                <a:gd name="connsiteX171" fmla="*/ 824760 w 966597"/>
                <a:gd name="connsiteY171" fmla="*/ 63161 h 96555"/>
                <a:gd name="connsiteX172" fmla="*/ 824760 w 966597"/>
                <a:gd name="connsiteY172" fmla="*/ 33100 h 96555"/>
                <a:gd name="connsiteX173" fmla="*/ 817511 w 966597"/>
                <a:gd name="connsiteY173" fmla="*/ 33100 h 96555"/>
                <a:gd name="connsiteX174" fmla="*/ 817511 w 966597"/>
                <a:gd name="connsiteY174" fmla="*/ 21851 h 96555"/>
                <a:gd name="connsiteX175" fmla="*/ 824760 w 966597"/>
                <a:gd name="connsiteY175" fmla="*/ 21851 h 96555"/>
                <a:gd name="connsiteX176" fmla="*/ 259652 w 966597"/>
                <a:gd name="connsiteY176" fmla="*/ 6163 h 96555"/>
                <a:gd name="connsiteX177" fmla="*/ 272739 w 966597"/>
                <a:gd name="connsiteY177" fmla="*/ 6163 h 96555"/>
                <a:gd name="connsiteX178" fmla="*/ 272739 w 966597"/>
                <a:gd name="connsiteY178" fmla="*/ 21841 h 96555"/>
                <a:gd name="connsiteX179" fmla="*/ 288093 w 966597"/>
                <a:gd name="connsiteY179" fmla="*/ 21841 h 96555"/>
                <a:gd name="connsiteX180" fmla="*/ 288093 w 966597"/>
                <a:gd name="connsiteY180" fmla="*/ 33090 h 96555"/>
                <a:gd name="connsiteX181" fmla="*/ 272739 w 966597"/>
                <a:gd name="connsiteY181" fmla="*/ 33090 h 96555"/>
                <a:gd name="connsiteX182" fmla="*/ 272739 w 966597"/>
                <a:gd name="connsiteY182" fmla="*/ 61094 h 96555"/>
                <a:gd name="connsiteX183" fmla="*/ 272729 w 966597"/>
                <a:gd name="connsiteY183" fmla="*/ 61094 h 96555"/>
                <a:gd name="connsiteX184" fmla="*/ 279759 w 966597"/>
                <a:gd name="connsiteY184" fmla="*/ 68237 h 96555"/>
                <a:gd name="connsiteX185" fmla="*/ 287865 w 966597"/>
                <a:gd name="connsiteY185" fmla="*/ 66285 h 96555"/>
                <a:gd name="connsiteX186" fmla="*/ 287865 w 966597"/>
                <a:gd name="connsiteY186" fmla="*/ 77000 h 96555"/>
                <a:gd name="connsiteX187" fmla="*/ 276082 w 966597"/>
                <a:gd name="connsiteY187" fmla="*/ 79915 h 96555"/>
                <a:gd name="connsiteX188" fmla="*/ 259652 w 966597"/>
                <a:gd name="connsiteY188" fmla="*/ 63161 h 96555"/>
                <a:gd name="connsiteX189" fmla="*/ 259652 w 966597"/>
                <a:gd name="connsiteY189" fmla="*/ 33100 h 96555"/>
                <a:gd name="connsiteX190" fmla="*/ 252403 w 966597"/>
                <a:gd name="connsiteY190" fmla="*/ 33100 h 96555"/>
                <a:gd name="connsiteX191" fmla="*/ 252403 w 966597"/>
                <a:gd name="connsiteY191" fmla="*/ 21851 h 96555"/>
                <a:gd name="connsiteX192" fmla="*/ 259652 w 966597"/>
                <a:gd name="connsiteY192" fmla="*/ 21851 h 96555"/>
                <a:gd name="connsiteX193" fmla="*/ 39043 w 966597"/>
                <a:gd name="connsiteY193" fmla="*/ 1943 h 96555"/>
                <a:gd name="connsiteX194" fmla="*/ 68132 w 966597"/>
                <a:gd name="connsiteY194" fmla="*/ 12220 h 96555"/>
                <a:gd name="connsiteX195" fmla="*/ 59703 w 966597"/>
                <a:gd name="connsiteY195" fmla="*/ 22279 h 96555"/>
                <a:gd name="connsiteX196" fmla="*/ 38510 w 966597"/>
                <a:gd name="connsiteY196" fmla="*/ 14164 h 96555"/>
                <a:gd name="connsiteX197" fmla="*/ 13964 w 966597"/>
                <a:gd name="connsiteY197" fmla="*/ 40976 h 96555"/>
                <a:gd name="connsiteX198" fmla="*/ 39700 w 966597"/>
                <a:gd name="connsiteY198" fmla="*/ 68123 h 96555"/>
                <a:gd name="connsiteX199" fmla="*/ 57979 w 966597"/>
                <a:gd name="connsiteY199" fmla="*/ 62398 h 96555"/>
                <a:gd name="connsiteX200" fmla="*/ 57979 w 966597"/>
                <a:gd name="connsiteY200" fmla="*/ 48225 h 96555"/>
                <a:gd name="connsiteX201" fmla="*/ 38624 w 966597"/>
                <a:gd name="connsiteY201" fmla="*/ 48225 h 96555"/>
                <a:gd name="connsiteX202" fmla="*/ 38624 w 966597"/>
                <a:gd name="connsiteY202" fmla="*/ 36652 h 96555"/>
                <a:gd name="connsiteX203" fmla="*/ 70847 w 966597"/>
                <a:gd name="connsiteY203" fmla="*/ 36652 h 96555"/>
                <a:gd name="connsiteX204" fmla="*/ 70847 w 966597"/>
                <a:gd name="connsiteY204" fmla="*/ 68447 h 96555"/>
                <a:gd name="connsiteX205" fmla="*/ 39253 w 966597"/>
                <a:gd name="connsiteY205" fmla="*/ 80229 h 96555"/>
                <a:gd name="connsiteX206" fmla="*/ 0 w 966597"/>
                <a:gd name="connsiteY206" fmla="*/ 41196 h 96555"/>
                <a:gd name="connsiteX207" fmla="*/ 39043 w 966597"/>
                <a:gd name="connsiteY207" fmla="*/ 1943 h 96555"/>
                <a:gd name="connsiteX208" fmla="*/ 737854 w 966597"/>
                <a:gd name="connsiteY208" fmla="*/ 648 h 96555"/>
                <a:gd name="connsiteX209" fmla="*/ 751913 w 966597"/>
                <a:gd name="connsiteY209" fmla="*/ 648 h 96555"/>
                <a:gd name="connsiteX210" fmla="*/ 751913 w 966597"/>
                <a:gd name="connsiteY210" fmla="*/ 13088 h 96555"/>
                <a:gd name="connsiteX211" fmla="*/ 737854 w 966597"/>
                <a:gd name="connsiteY211" fmla="*/ 13088 h 96555"/>
                <a:gd name="connsiteX212" fmla="*/ 502101 w 966597"/>
                <a:gd name="connsiteY212" fmla="*/ 0 h 96555"/>
                <a:gd name="connsiteX213" fmla="*/ 515188 w 966597"/>
                <a:gd name="connsiteY213" fmla="*/ 0 h 96555"/>
                <a:gd name="connsiteX214" fmla="*/ 515188 w 966597"/>
                <a:gd name="connsiteY214" fmla="*/ 30709 h 96555"/>
                <a:gd name="connsiteX215" fmla="*/ 533029 w 966597"/>
                <a:gd name="connsiteY215" fmla="*/ 20650 h 96555"/>
                <a:gd name="connsiteX216" fmla="*/ 553365 w 966597"/>
                <a:gd name="connsiteY216" fmla="*/ 42596 h 96555"/>
                <a:gd name="connsiteX217" fmla="*/ 553365 w 966597"/>
                <a:gd name="connsiteY217" fmla="*/ 78934 h 96555"/>
                <a:gd name="connsiteX218" fmla="*/ 540277 w 966597"/>
                <a:gd name="connsiteY218" fmla="*/ 78934 h 96555"/>
                <a:gd name="connsiteX219" fmla="*/ 540277 w 966597"/>
                <a:gd name="connsiteY219" fmla="*/ 46492 h 96555"/>
                <a:gd name="connsiteX220" fmla="*/ 528057 w 966597"/>
                <a:gd name="connsiteY220" fmla="*/ 32537 h 96555"/>
                <a:gd name="connsiteX221" fmla="*/ 515179 w 966597"/>
                <a:gd name="connsiteY221" fmla="*/ 46711 h 96555"/>
                <a:gd name="connsiteX222" fmla="*/ 515179 w 966597"/>
                <a:gd name="connsiteY222" fmla="*/ 78934 h 96555"/>
                <a:gd name="connsiteX223" fmla="*/ 502101 w 966597"/>
                <a:gd name="connsiteY223" fmla="*/ 78934 h 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66597" h="96555">
                  <a:moveTo>
                    <a:pt x="216732" y="52435"/>
                  </a:moveTo>
                  <a:cubicBezTo>
                    <a:pt x="208512" y="52435"/>
                    <a:pt x="203645" y="55788"/>
                    <a:pt x="203645" y="61627"/>
                  </a:cubicBezTo>
                  <a:lnTo>
                    <a:pt x="203645" y="61846"/>
                  </a:lnTo>
                  <a:cubicBezTo>
                    <a:pt x="203645" y="67256"/>
                    <a:pt x="208512" y="70275"/>
                    <a:pt x="214674" y="70275"/>
                  </a:cubicBezTo>
                  <a:cubicBezTo>
                    <a:pt x="223323" y="70275"/>
                    <a:pt x="229819" y="65418"/>
                    <a:pt x="229819" y="58274"/>
                  </a:cubicBezTo>
                  <a:lnTo>
                    <a:pt x="229819" y="54712"/>
                  </a:lnTo>
                  <a:cubicBezTo>
                    <a:pt x="226466" y="53407"/>
                    <a:pt x="221818" y="52435"/>
                    <a:pt x="216732" y="52435"/>
                  </a:cubicBezTo>
                  <a:close/>
                  <a:moveTo>
                    <a:pt x="594312" y="31356"/>
                  </a:moveTo>
                  <a:cubicBezTo>
                    <a:pt x="586311" y="31356"/>
                    <a:pt x="580691" y="37519"/>
                    <a:pt x="579501" y="46387"/>
                  </a:cubicBezTo>
                  <a:lnTo>
                    <a:pt x="608799" y="46387"/>
                  </a:lnTo>
                  <a:cubicBezTo>
                    <a:pt x="607942" y="37957"/>
                    <a:pt x="602961" y="31356"/>
                    <a:pt x="594312" y="31356"/>
                  </a:cubicBezTo>
                  <a:close/>
                  <a:moveTo>
                    <a:pt x="324287" y="31356"/>
                  </a:moveTo>
                  <a:cubicBezTo>
                    <a:pt x="316286" y="31356"/>
                    <a:pt x="310667" y="37519"/>
                    <a:pt x="309476" y="46387"/>
                  </a:cubicBezTo>
                  <a:lnTo>
                    <a:pt x="338775" y="46387"/>
                  </a:lnTo>
                  <a:cubicBezTo>
                    <a:pt x="337918" y="37957"/>
                    <a:pt x="332936" y="31356"/>
                    <a:pt x="324287" y="31356"/>
                  </a:cubicBezTo>
                  <a:close/>
                  <a:moveTo>
                    <a:pt x="153400" y="31356"/>
                  </a:moveTo>
                  <a:cubicBezTo>
                    <a:pt x="145399" y="31356"/>
                    <a:pt x="139770" y="37519"/>
                    <a:pt x="138579" y="46387"/>
                  </a:cubicBezTo>
                  <a:lnTo>
                    <a:pt x="167888" y="46387"/>
                  </a:lnTo>
                  <a:cubicBezTo>
                    <a:pt x="167021" y="37957"/>
                    <a:pt x="162049" y="31356"/>
                    <a:pt x="153400" y="31356"/>
                  </a:cubicBezTo>
                  <a:close/>
                  <a:moveTo>
                    <a:pt x="907980" y="21841"/>
                  </a:moveTo>
                  <a:lnTo>
                    <a:pt x="921934" y="21841"/>
                  </a:lnTo>
                  <a:lnTo>
                    <a:pt x="938155" y="64227"/>
                  </a:lnTo>
                  <a:lnTo>
                    <a:pt x="952976" y="21841"/>
                  </a:lnTo>
                  <a:lnTo>
                    <a:pt x="966597" y="21841"/>
                  </a:lnTo>
                  <a:lnTo>
                    <a:pt x="943899" y="80553"/>
                  </a:lnTo>
                  <a:cubicBezTo>
                    <a:pt x="939355" y="92231"/>
                    <a:pt x="934269" y="96555"/>
                    <a:pt x="925077" y="96555"/>
                  </a:cubicBezTo>
                  <a:cubicBezTo>
                    <a:pt x="919562" y="96555"/>
                    <a:pt x="915562" y="95260"/>
                    <a:pt x="911561" y="93098"/>
                  </a:cubicBezTo>
                  <a:lnTo>
                    <a:pt x="915991" y="83363"/>
                  </a:lnTo>
                  <a:cubicBezTo>
                    <a:pt x="918372" y="84668"/>
                    <a:pt x="920963" y="85525"/>
                    <a:pt x="923668" y="85525"/>
                  </a:cubicBezTo>
                  <a:cubicBezTo>
                    <a:pt x="927344" y="85525"/>
                    <a:pt x="929611" y="83906"/>
                    <a:pt x="931773" y="78934"/>
                  </a:cubicBezTo>
                  <a:close/>
                  <a:moveTo>
                    <a:pt x="738397" y="21841"/>
                  </a:moveTo>
                  <a:lnTo>
                    <a:pt x="751484" y="21841"/>
                  </a:lnTo>
                  <a:lnTo>
                    <a:pt x="751484" y="78934"/>
                  </a:lnTo>
                  <a:lnTo>
                    <a:pt x="738397" y="78934"/>
                  </a:lnTo>
                  <a:close/>
                  <a:moveTo>
                    <a:pt x="217389" y="20974"/>
                  </a:moveTo>
                  <a:cubicBezTo>
                    <a:pt x="234258" y="20974"/>
                    <a:pt x="242478" y="29842"/>
                    <a:pt x="242478" y="45091"/>
                  </a:cubicBezTo>
                  <a:lnTo>
                    <a:pt x="242478" y="78934"/>
                  </a:lnTo>
                  <a:lnTo>
                    <a:pt x="229495" y="78934"/>
                  </a:lnTo>
                  <a:lnTo>
                    <a:pt x="229495" y="71904"/>
                  </a:lnTo>
                  <a:cubicBezTo>
                    <a:pt x="225600" y="76552"/>
                    <a:pt x="219656" y="80124"/>
                    <a:pt x="211007" y="80124"/>
                  </a:cubicBezTo>
                  <a:cubicBezTo>
                    <a:pt x="200196" y="80124"/>
                    <a:pt x="190681" y="73962"/>
                    <a:pt x="190681" y="62503"/>
                  </a:cubicBezTo>
                  <a:lnTo>
                    <a:pt x="190681" y="62293"/>
                  </a:lnTo>
                  <a:cubicBezTo>
                    <a:pt x="190681" y="49968"/>
                    <a:pt x="200520" y="43910"/>
                    <a:pt x="213827" y="43910"/>
                  </a:cubicBezTo>
                  <a:cubicBezTo>
                    <a:pt x="220751" y="43910"/>
                    <a:pt x="225181" y="44882"/>
                    <a:pt x="229610" y="46282"/>
                  </a:cubicBezTo>
                  <a:lnTo>
                    <a:pt x="229610" y="44882"/>
                  </a:lnTo>
                  <a:cubicBezTo>
                    <a:pt x="229610" y="36995"/>
                    <a:pt x="224638" y="32661"/>
                    <a:pt x="215551" y="32661"/>
                  </a:cubicBezTo>
                  <a:cubicBezTo>
                    <a:pt x="209169" y="32661"/>
                    <a:pt x="204416" y="34061"/>
                    <a:pt x="199225" y="36233"/>
                  </a:cubicBezTo>
                  <a:lnTo>
                    <a:pt x="195653" y="25737"/>
                  </a:lnTo>
                  <a:cubicBezTo>
                    <a:pt x="201921" y="22927"/>
                    <a:pt x="208083" y="20974"/>
                    <a:pt x="217389" y="20974"/>
                  </a:cubicBezTo>
                  <a:close/>
                  <a:moveTo>
                    <a:pt x="786517" y="20879"/>
                  </a:moveTo>
                  <a:cubicBezTo>
                    <a:pt x="793661" y="20879"/>
                    <a:pt x="801442" y="23356"/>
                    <a:pt x="807500" y="27366"/>
                  </a:cubicBezTo>
                  <a:lnTo>
                    <a:pt x="802309" y="36662"/>
                  </a:lnTo>
                  <a:cubicBezTo>
                    <a:pt x="796794" y="33309"/>
                    <a:pt x="790946" y="31252"/>
                    <a:pt x="786202" y="31252"/>
                  </a:cubicBezTo>
                  <a:cubicBezTo>
                    <a:pt x="781116" y="31252"/>
                    <a:pt x="778201" y="33633"/>
                    <a:pt x="778201" y="36986"/>
                  </a:cubicBezTo>
                  <a:lnTo>
                    <a:pt x="778201" y="37195"/>
                  </a:lnTo>
                  <a:cubicBezTo>
                    <a:pt x="778201" y="41310"/>
                    <a:pt x="784364" y="43044"/>
                    <a:pt x="791070" y="45196"/>
                  </a:cubicBezTo>
                  <a:cubicBezTo>
                    <a:pt x="799404" y="47787"/>
                    <a:pt x="808805" y="51578"/>
                    <a:pt x="808805" y="61846"/>
                  </a:cubicBezTo>
                  <a:lnTo>
                    <a:pt x="808805" y="62065"/>
                  </a:lnTo>
                  <a:cubicBezTo>
                    <a:pt x="808777" y="74067"/>
                    <a:pt x="799480" y="80020"/>
                    <a:pt x="787593" y="80020"/>
                  </a:cubicBezTo>
                  <a:cubicBezTo>
                    <a:pt x="779478" y="80020"/>
                    <a:pt x="770505" y="77096"/>
                    <a:pt x="763371" y="71476"/>
                  </a:cubicBezTo>
                  <a:lnTo>
                    <a:pt x="769219" y="62608"/>
                  </a:lnTo>
                  <a:cubicBezTo>
                    <a:pt x="775382" y="67256"/>
                    <a:pt x="782088" y="69637"/>
                    <a:pt x="787917" y="69637"/>
                  </a:cubicBezTo>
                  <a:cubicBezTo>
                    <a:pt x="793546" y="69637"/>
                    <a:pt x="796785" y="67256"/>
                    <a:pt x="796785" y="63475"/>
                  </a:cubicBezTo>
                  <a:lnTo>
                    <a:pt x="796785" y="63256"/>
                  </a:lnTo>
                  <a:cubicBezTo>
                    <a:pt x="796785" y="58827"/>
                    <a:pt x="790727" y="57312"/>
                    <a:pt x="784031" y="55255"/>
                  </a:cubicBezTo>
                  <a:cubicBezTo>
                    <a:pt x="775592" y="52873"/>
                    <a:pt x="766190" y="49406"/>
                    <a:pt x="766190" y="38500"/>
                  </a:cubicBezTo>
                  <a:lnTo>
                    <a:pt x="766190" y="38281"/>
                  </a:lnTo>
                  <a:cubicBezTo>
                    <a:pt x="766190" y="27470"/>
                    <a:pt x="775163" y="20879"/>
                    <a:pt x="786517" y="20879"/>
                  </a:cubicBezTo>
                  <a:close/>
                  <a:moveTo>
                    <a:pt x="900989" y="20764"/>
                  </a:moveTo>
                  <a:lnTo>
                    <a:pt x="900989" y="34604"/>
                  </a:lnTo>
                  <a:lnTo>
                    <a:pt x="900237" y="34604"/>
                  </a:lnTo>
                  <a:cubicBezTo>
                    <a:pt x="888778" y="34604"/>
                    <a:pt x="880767" y="42062"/>
                    <a:pt x="880767" y="57197"/>
                  </a:cubicBezTo>
                  <a:lnTo>
                    <a:pt x="880767" y="78933"/>
                  </a:lnTo>
                  <a:lnTo>
                    <a:pt x="867680" y="78933"/>
                  </a:lnTo>
                  <a:lnTo>
                    <a:pt x="867680" y="21840"/>
                  </a:lnTo>
                  <a:lnTo>
                    <a:pt x="880767" y="21840"/>
                  </a:lnTo>
                  <a:lnTo>
                    <a:pt x="880767" y="34718"/>
                  </a:lnTo>
                  <a:cubicBezTo>
                    <a:pt x="884339" y="26174"/>
                    <a:pt x="890931" y="20336"/>
                    <a:pt x="900989" y="20764"/>
                  </a:cubicBezTo>
                  <a:close/>
                  <a:moveTo>
                    <a:pt x="397154" y="20764"/>
                  </a:moveTo>
                  <a:lnTo>
                    <a:pt x="397154" y="34604"/>
                  </a:lnTo>
                  <a:lnTo>
                    <a:pt x="396401" y="34604"/>
                  </a:lnTo>
                  <a:cubicBezTo>
                    <a:pt x="384943" y="34604"/>
                    <a:pt x="376932" y="42062"/>
                    <a:pt x="376932" y="57197"/>
                  </a:cubicBezTo>
                  <a:lnTo>
                    <a:pt x="376932" y="78933"/>
                  </a:lnTo>
                  <a:lnTo>
                    <a:pt x="363845" y="78933"/>
                  </a:lnTo>
                  <a:lnTo>
                    <a:pt x="363845" y="21840"/>
                  </a:lnTo>
                  <a:lnTo>
                    <a:pt x="376932" y="21840"/>
                  </a:lnTo>
                  <a:lnTo>
                    <a:pt x="376932" y="34718"/>
                  </a:lnTo>
                  <a:cubicBezTo>
                    <a:pt x="380504" y="26174"/>
                    <a:pt x="387095" y="20336"/>
                    <a:pt x="397154" y="20764"/>
                  </a:cubicBezTo>
                  <a:close/>
                  <a:moveTo>
                    <a:pt x="118815" y="20764"/>
                  </a:moveTo>
                  <a:lnTo>
                    <a:pt x="118815" y="34604"/>
                  </a:lnTo>
                  <a:lnTo>
                    <a:pt x="118062" y="34604"/>
                  </a:lnTo>
                  <a:cubicBezTo>
                    <a:pt x="106604" y="34604"/>
                    <a:pt x="98603" y="42062"/>
                    <a:pt x="98603" y="57197"/>
                  </a:cubicBezTo>
                  <a:lnTo>
                    <a:pt x="98603" y="78933"/>
                  </a:lnTo>
                  <a:lnTo>
                    <a:pt x="98593" y="78933"/>
                  </a:lnTo>
                  <a:lnTo>
                    <a:pt x="85506" y="78933"/>
                  </a:lnTo>
                  <a:lnTo>
                    <a:pt x="85506" y="21840"/>
                  </a:lnTo>
                  <a:lnTo>
                    <a:pt x="98593" y="21840"/>
                  </a:lnTo>
                  <a:lnTo>
                    <a:pt x="98593" y="34718"/>
                  </a:lnTo>
                  <a:cubicBezTo>
                    <a:pt x="102156" y="26174"/>
                    <a:pt x="108757" y="20336"/>
                    <a:pt x="118815" y="20764"/>
                  </a:cubicBezTo>
                  <a:close/>
                  <a:moveTo>
                    <a:pt x="702316" y="20650"/>
                  </a:moveTo>
                  <a:cubicBezTo>
                    <a:pt x="714756" y="20650"/>
                    <a:pt x="722319" y="28546"/>
                    <a:pt x="722319" y="42491"/>
                  </a:cubicBezTo>
                  <a:lnTo>
                    <a:pt x="722319" y="78933"/>
                  </a:lnTo>
                  <a:lnTo>
                    <a:pt x="709232" y="78933"/>
                  </a:lnTo>
                  <a:lnTo>
                    <a:pt x="709232" y="46491"/>
                  </a:lnTo>
                  <a:cubicBezTo>
                    <a:pt x="709232" y="37414"/>
                    <a:pt x="705021" y="32537"/>
                    <a:pt x="697659" y="32537"/>
                  </a:cubicBezTo>
                  <a:cubicBezTo>
                    <a:pt x="690524" y="32537"/>
                    <a:pt x="685438" y="37519"/>
                    <a:pt x="685438" y="46710"/>
                  </a:cubicBezTo>
                  <a:lnTo>
                    <a:pt x="685438" y="78933"/>
                  </a:lnTo>
                  <a:lnTo>
                    <a:pt x="672351" y="78933"/>
                  </a:lnTo>
                  <a:lnTo>
                    <a:pt x="672351" y="46387"/>
                  </a:lnTo>
                  <a:cubicBezTo>
                    <a:pt x="672351" y="37519"/>
                    <a:pt x="668026" y="32547"/>
                    <a:pt x="660778" y="32547"/>
                  </a:cubicBezTo>
                  <a:cubicBezTo>
                    <a:pt x="653539" y="32547"/>
                    <a:pt x="648557" y="37957"/>
                    <a:pt x="648557" y="46825"/>
                  </a:cubicBezTo>
                  <a:lnTo>
                    <a:pt x="648557" y="78943"/>
                  </a:lnTo>
                  <a:lnTo>
                    <a:pt x="635470" y="78943"/>
                  </a:lnTo>
                  <a:lnTo>
                    <a:pt x="635470" y="21850"/>
                  </a:lnTo>
                  <a:lnTo>
                    <a:pt x="648557" y="21850"/>
                  </a:lnTo>
                  <a:lnTo>
                    <a:pt x="648557" y="30499"/>
                  </a:lnTo>
                  <a:cubicBezTo>
                    <a:pt x="652244" y="25422"/>
                    <a:pt x="657206" y="20660"/>
                    <a:pt x="665969" y="20660"/>
                  </a:cubicBezTo>
                  <a:cubicBezTo>
                    <a:pt x="674189" y="20660"/>
                    <a:pt x="679923" y="24660"/>
                    <a:pt x="682943" y="30718"/>
                  </a:cubicBezTo>
                  <a:cubicBezTo>
                    <a:pt x="687610" y="24651"/>
                    <a:pt x="693668" y="20650"/>
                    <a:pt x="702316" y="20650"/>
                  </a:cubicBezTo>
                  <a:close/>
                  <a:moveTo>
                    <a:pt x="594436" y="20650"/>
                  </a:moveTo>
                  <a:cubicBezTo>
                    <a:pt x="612600" y="20650"/>
                    <a:pt x="621801" y="34918"/>
                    <a:pt x="621801" y="51473"/>
                  </a:cubicBezTo>
                  <a:cubicBezTo>
                    <a:pt x="621801" y="52664"/>
                    <a:pt x="621696" y="53740"/>
                    <a:pt x="621582" y="55035"/>
                  </a:cubicBezTo>
                  <a:lnTo>
                    <a:pt x="579624" y="55035"/>
                  </a:lnTo>
                  <a:cubicBezTo>
                    <a:pt x="581120" y="64332"/>
                    <a:pt x="587606" y="69523"/>
                    <a:pt x="596045" y="69523"/>
                  </a:cubicBezTo>
                  <a:cubicBezTo>
                    <a:pt x="602427" y="69523"/>
                    <a:pt x="606971" y="67142"/>
                    <a:pt x="611514" y="62712"/>
                  </a:cubicBezTo>
                  <a:lnTo>
                    <a:pt x="619191" y="69523"/>
                  </a:lnTo>
                  <a:cubicBezTo>
                    <a:pt x="613781" y="76019"/>
                    <a:pt x="606323" y="80229"/>
                    <a:pt x="595836" y="80229"/>
                  </a:cubicBezTo>
                  <a:cubicBezTo>
                    <a:pt x="579291" y="80229"/>
                    <a:pt x="566537" y="68227"/>
                    <a:pt x="566537" y="50492"/>
                  </a:cubicBezTo>
                  <a:cubicBezTo>
                    <a:pt x="566537" y="34052"/>
                    <a:pt x="578100" y="20650"/>
                    <a:pt x="594436" y="20650"/>
                  </a:cubicBezTo>
                  <a:close/>
                  <a:moveTo>
                    <a:pt x="467410" y="20650"/>
                  </a:moveTo>
                  <a:cubicBezTo>
                    <a:pt x="478221" y="20650"/>
                    <a:pt x="484927" y="24651"/>
                    <a:pt x="490223" y="30489"/>
                  </a:cubicBezTo>
                  <a:lnTo>
                    <a:pt x="482117" y="39252"/>
                  </a:lnTo>
                  <a:cubicBezTo>
                    <a:pt x="478116" y="35033"/>
                    <a:pt x="473897" y="32109"/>
                    <a:pt x="467296" y="32109"/>
                  </a:cubicBezTo>
                  <a:cubicBezTo>
                    <a:pt x="457781" y="32109"/>
                    <a:pt x="450856" y="40329"/>
                    <a:pt x="450856" y="50378"/>
                  </a:cubicBezTo>
                  <a:cubicBezTo>
                    <a:pt x="450856" y="60655"/>
                    <a:pt x="457885" y="68866"/>
                    <a:pt x="467944" y="68866"/>
                  </a:cubicBezTo>
                  <a:cubicBezTo>
                    <a:pt x="474106" y="68866"/>
                    <a:pt x="478650" y="65951"/>
                    <a:pt x="482765" y="61722"/>
                  </a:cubicBezTo>
                  <a:lnTo>
                    <a:pt x="490661" y="69504"/>
                  </a:lnTo>
                  <a:cubicBezTo>
                    <a:pt x="485041" y="75800"/>
                    <a:pt x="478450" y="80229"/>
                    <a:pt x="467306" y="80229"/>
                  </a:cubicBezTo>
                  <a:cubicBezTo>
                    <a:pt x="450332" y="80229"/>
                    <a:pt x="437778" y="66932"/>
                    <a:pt x="437778" y="50606"/>
                  </a:cubicBezTo>
                  <a:cubicBezTo>
                    <a:pt x="437778" y="34280"/>
                    <a:pt x="450322" y="20650"/>
                    <a:pt x="467410" y="20650"/>
                  </a:cubicBezTo>
                  <a:close/>
                  <a:moveTo>
                    <a:pt x="324402" y="20650"/>
                  </a:moveTo>
                  <a:cubicBezTo>
                    <a:pt x="342566" y="20650"/>
                    <a:pt x="351767" y="34918"/>
                    <a:pt x="351767" y="51473"/>
                  </a:cubicBezTo>
                  <a:cubicBezTo>
                    <a:pt x="351767" y="52664"/>
                    <a:pt x="351662" y="53740"/>
                    <a:pt x="351548" y="55035"/>
                  </a:cubicBezTo>
                  <a:lnTo>
                    <a:pt x="309590" y="55035"/>
                  </a:lnTo>
                  <a:cubicBezTo>
                    <a:pt x="311105" y="64332"/>
                    <a:pt x="317591" y="69523"/>
                    <a:pt x="326021" y="69523"/>
                  </a:cubicBezTo>
                  <a:cubicBezTo>
                    <a:pt x="332403" y="69523"/>
                    <a:pt x="336946" y="67142"/>
                    <a:pt x="341490" y="62712"/>
                  </a:cubicBezTo>
                  <a:lnTo>
                    <a:pt x="349167" y="69523"/>
                  </a:lnTo>
                  <a:cubicBezTo>
                    <a:pt x="343757" y="76019"/>
                    <a:pt x="336298" y="80229"/>
                    <a:pt x="325811" y="80229"/>
                  </a:cubicBezTo>
                  <a:cubicBezTo>
                    <a:pt x="309267" y="80229"/>
                    <a:pt x="296503" y="68227"/>
                    <a:pt x="296503" y="50492"/>
                  </a:cubicBezTo>
                  <a:cubicBezTo>
                    <a:pt x="296503" y="34052"/>
                    <a:pt x="308076" y="20650"/>
                    <a:pt x="324402" y="20650"/>
                  </a:cubicBezTo>
                  <a:close/>
                  <a:moveTo>
                    <a:pt x="153505" y="20650"/>
                  </a:moveTo>
                  <a:cubicBezTo>
                    <a:pt x="171669" y="20650"/>
                    <a:pt x="180861" y="34918"/>
                    <a:pt x="180861" y="51473"/>
                  </a:cubicBezTo>
                  <a:cubicBezTo>
                    <a:pt x="180861" y="52664"/>
                    <a:pt x="180756" y="53740"/>
                    <a:pt x="180641" y="55035"/>
                  </a:cubicBezTo>
                  <a:lnTo>
                    <a:pt x="138684" y="55035"/>
                  </a:lnTo>
                  <a:cubicBezTo>
                    <a:pt x="140208" y="64332"/>
                    <a:pt x="146694" y="69523"/>
                    <a:pt x="155124" y="69523"/>
                  </a:cubicBezTo>
                  <a:cubicBezTo>
                    <a:pt x="161506" y="69523"/>
                    <a:pt x="166049" y="67142"/>
                    <a:pt x="170593" y="62712"/>
                  </a:cubicBezTo>
                  <a:lnTo>
                    <a:pt x="178270" y="69523"/>
                  </a:lnTo>
                  <a:cubicBezTo>
                    <a:pt x="172860" y="76019"/>
                    <a:pt x="165401" y="80229"/>
                    <a:pt x="154914" y="80229"/>
                  </a:cubicBezTo>
                  <a:cubicBezTo>
                    <a:pt x="138370" y="80229"/>
                    <a:pt x="125606" y="68227"/>
                    <a:pt x="125606" y="50492"/>
                  </a:cubicBezTo>
                  <a:cubicBezTo>
                    <a:pt x="125606" y="34052"/>
                    <a:pt x="137179" y="20650"/>
                    <a:pt x="153505" y="20650"/>
                  </a:cubicBezTo>
                  <a:close/>
                  <a:moveTo>
                    <a:pt x="824760" y="6163"/>
                  </a:moveTo>
                  <a:lnTo>
                    <a:pt x="837847" y="6163"/>
                  </a:lnTo>
                  <a:lnTo>
                    <a:pt x="837847" y="21841"/>
                  </a:lnTo>
                  <a:lnTo>
                    <a:pt x="853201" y="21841"/>
                  </a:lnTo>
                  <a:lnTo>
                    <a:pt x="853201" y="33090"/>
                  </a:lnTo>
                  <a:lnTo>
                    <a:pt x="837847" y="33090"/>
                  </a:lnTo>
                  <a:lnTo>
                    <a:pt x="837847" y="61094"/>
                  </a:lnTo>
                  <a:cubicBezTo>
                    <a:pt x="837847" y="66180"/>
                    <a:pt x="840438" y="68237"/>
                    <a:pt x="844876" y="68237"/>
                  </a:cubicBezTo>
                  <a:cubicBezTo>
                    <a:pt x="847791" y="68237"/>
                    <a:pt x="850382" y="67590"/>
                    <a:pt x="852982" y="66285"/>
                  </a:cubicBezTo>
                  <a:lnTo>
                    <a:pt x="852982" y="77000"/>
                  </a:lnTo>
                  <a:cubicBezTo>
                    <a:pt x="849734" y="78829"/>
                    <a:pt x="846057" y="79915"/>
                    <a:pt x="841190" y="79915"/>
                  </a:cubicBezTo>
                  <a:cubicBezTo>
                    <a:pt x="831570" y="79915"/>
                    <a:pt x="824760" y="75696"/>
                    <a:pt x="824760" y="63161"/>
                  </a:cubicBezTo>
                  <a:lnTo>
                    <a:pt x="824760" y="33100"/>
                  </a:lnTo>
                  <a:lnTo>
                    <a:pt x="817511" y="33100"/>
                  </a:lnTo>
                  <a:lnTo>
                    <a:pt x="817511" y="21851"/>
                  </a:lnTo>
                  <a:lnTo>
                    <a:pt x="824760" y="21851"/>
                  </a:lnTo>
                  <a:close/>
                  <a:moveTo>
                    <a:pt x="259652" y="6163"/>
                  </a:moveTo>
                  <a:lnTo>
                    <a:pt x="272739" y="6163"/>
                  </a:lnTo>
                  <a:lnTo>
                    <a:pt x="272739" y="21841"/>
                  </a:lnTo>
                  <a:lnTo>
                    <a:pt x="288093" y="21841"/>
                  </a:lnTo>
                  <a:lnTo>
                    <a:pt x="288093" y="33090"/>
                  </a:lnTo>
                  <a:lnTo>
                    <a:pt x="272739" y="33090"/>
                  </a:lnTo>
                  <a:lnTo>
                    <a:pt x="272739" y="61094"/>
                  </a:lnTo>
                  <a:lnTo>
                    <a:pt x="272729" y="61094"/>
                  </a:lnTo>
                  <a:cubicBezTo>
                    <a:pt x="272729" y="66180"/>
                    <a:pt x="275320" y="68237"/>
                    <a:pt x="279759" y="68237"/>
                  </a:cubicBezTo>
                  <a:cubicBezTo>
                    <a:pt x="282683" y="68237"/>
                    <a:pt x="285274" y="67590"/>
                    <a:pt x="287865" y="66285"/>
                  </a:cubicBezTo>
                  <a:lnTo>
                    <a:pt x="287865" y="77000"/>
                  </a:lnTo>
                  <a:cubicBezTo>
                    <a:pt x="284626" y="78829"/>
                    <a:pt x="280940" y="79915"/>
                    <a:pt x="276082" y="79915"/>
                  </a:cubicBezTo>
                  <a:cubicBezTo>
                    <a:pt x="266462" y="79915"/>
                    <a:pt x="259652" y="75696"/>
                    <a:pt x="259652" y="63161"/>
                  </a:cubicBezTo>
                  <a:lnTo>
                    <a:pt x="259652" y="33100"/>
                  </a:lnTo>
                  <a:lnTo>
                    <a:pt x="252403" y="33100"/>
                  </a:lnTo>
                  <a:lnTo>
                    <a:pt x="252403" y="21851"/>
                  </a:lnTo>
                  <a:lnTo>
                    <a:pt x="259652" y="21851"/>
                  </a:lnTo>
                  <a:close/>
                  <a:moveTo>
                    <a:pt x="39043" y="1943"/>
                  </a:moveTo>
                  <a:cubicBezTo>
                    <a:pt x="52235" y="1943"/>
                    <a:pt x="60341" y="5629"/>
                    <a:pt x="68132" y="12220"/>
                  </a:cubicBezTo>
                  <a:lnTo>
                    <a:pt x="59703" y="22279"/>
                  </a:lnTo>
                  <a:cubicBezTo>
                    <a:pt x="53864" y="17297"/>
                    <a:pt x="48130" y="14164"/>
                    <a:pt x="38510" y="14164"/>
                  </a:cubicBezTo>
                  <a:cubicBezTo>
                    <a:pt x="24565" y="14164"/>
                    <a:pt x="13964" y="26270"/>
                    <a:pt x="13964" y="40976"/>
                  </a:cubicBezTo>
                  <a:cubicBezTo>
                    <a:pt x="13964" y="56655"/>
                    <a:pt x="24232" y="68123"/>
                    <a:pt x="39700" y="68123"/>
                  </a:cubicBezTo>
                  <a:cubicBezTo>
                    <a:pt x="46844" y="68123"/>
                    <a:pt x="53331" y="65856"/>
                    <a:pt x="57979" y="62398"/>
                  </a:cubicBezTo>
                  <a:lnTo>
                    <a:pt x="57979" y="48225"/>
                  </a:lnTo>
                  <a:lnTo>
                    <a:pt x="38624" y="48225"/>
                  </a:lnTo>
                  <a:lnTo>
                    <a:pt x="38624" y="36652"/>
                  </a:lnTo>
                  <a:lnTo>
                    <a:pt x="70847" y="36652"/>
                  </a:lnTo>
                  <a:lnTo>
                    <a:pt x="70847" y="68447"/>
                  </a:lnTo>
                  <a:cubicBezTo>
                    <a:pt x="63370" y="74819"/>
                    <a:pt x="52664" y="80229"/>
                    <a:pt x="39253" y="80229"/>
                  </a:cubicBezTo>
                  <a:cubicBezTo>
                    <a:pt x="15573" y="80229"/>
                    <a:pt x="0" y="63360"/>
                    <a:pt x="0" y="41196"/>
                  </a:cubicBezTo>
                  <a:cubicBezTo>
                    <a:pt x="0" y="19898"/>
                    <a:pt x="16221" y="1943"/>
                    <a:pt x="39043" y="1943"/>
                  </a:cubicBezTo>
                  <a:close/>
                  <a:moveTo>
                    <a:pt x="737854" y="648"/>
                  </a:moveTo>
                  <a:lnTo>
                    <a:pt x="751913" y="648"/>
                  </a:lnTo>
                  <a:lnTo>
                    <a:pt x="751913" y="13088"/>
                  </a:lnTo>
                  <a:lnTo>
                    <a:pt x="737854" y="13088"/>
                  </a:lnTo>
                  <a:close/>
                  <a:moveTo>
                    <a:pt x="502101" y="0"/>
                  </a:moveTo>
                  <a:lnTo>
                    <a:pt x="515188" y="0"/>
                  </a:lnTo>
                  <a:lnTo>
                    <a:pt x="515188" y="30709"/>
                  </a:lnTo>
                  <a:cubicBezTo>
                    <a:pt x="518874" y="25298"/>
                    <a:pt x="524170" y="20650"/>
                    <a:pt x="533029" y="20650"/>
                  </a:cubicBezTo>
                  <a:cubicBezTo>
                    <a:pt x="545897" y="20650"/>
                    <a:pt x="553365" y="29299"/>
                    <a:pt x="553365" y="42596"/>
                  </a:cubicBezTo>
                  <a:lnTo>
                    <a:pt x="553365" y="78934"/>
                  </a:lnTo>
                  <a:lnTo>
                    <a:pt x="540277" y="78934"/>
                  </a:lnTo>
                  <a:lnTo>
                    <a:pt x="540277" y="46492"/>
                  </a:lnTo>
                  <a:cubicBezTo>
                    <a:pt x="540277" y="37624"/>
                    <a:pt x="535839" y="32537"/>
                    <a:pt x="528057" y="32537"/>
                  </a:cubicBezTo>
                  <a:cubicBezTo>
                    <a:pt x="520484" y="32537"/>
                    <a:pt x="515179" y="37833"/>
                    <a:pt x="515179" y="46711"/>
                  </a:cubicBezTo>
                  <a:lnTo>
                    <a:pt x="515179" y="78934"/>
                  </a:lnTo>
                  <a:lnTo>
                    <a:pt x="502101" y="78934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6430049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Small Image" preserve="1" userDrawn="1">
  <p:cSld name="Title Slide - Small Image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xtDate">
            <a:extLst>
              <a:ext uri="{FF2B5EF4-FFF2-40B4-BE49-F238E27FC236}">
                <a16:creationId xmlns:a16="http://schemas.microsoft.com/office/drawing/2014/main" id="{3CD94127-3B7C-471C-8417-68F2444D43A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gray">
          <a:xfrm>
            <a:off x="431800" y="5976395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050" noProof="0">
                <a:solidFill>
                  <a:schemeClr val="tx2"/>
                </a:solidFill>
                <a:latin typeface="+mj-lt"/>
              </a:rPr>
              <a:t>01.02.2023</a:t>
            </a: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0" name="txtFooter3">
            <a:extLst>
              <a:ext uri="{FF2B5EF4-FFF2-40B4-BE49-F238E27FC236}">
                <a16:creationId xmlns:a16="http://schemas.microsoft.com/office/drawing/2014/main" id="{22AEC0C9-5208-4A3C-9969-27202CE4BAC5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gray">
          <a:xfrm>
            <a:off x="431800" y="6133240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9" name="txtFooter2">
            <a:extLst>
              <a:ext uri="{FF2B5EF4-FFF2-40B4-BE49-F238E27FC236}">
                <a16:creationId xmlns:a16="http://schemas.microsoft.com/office/drawing/2014/main" id="{E9498C4F-C722-4242-ACDC-B1736C981C6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gray">
          <a:xfrm>
            <a:off x="431800" y="5976395"/>
            <a:ext cx="5664200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8" name="txtFooter1">
            <a:extLst>
              <a:ext uri="{FF2B5EF4-FFF2-40B4-BE49-F238E27FC236}">
                <a16:creationId xmlns:a16="http://schemas.microsoft.com/office/drawing/2014/main" id="{46166049-26EB-44FD-830B-D08186C2B10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431800" y="5819550"/>
            <a:ext cx="5664200" cy="1600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050" noProof="0">
                <a:solidFill>
                  <a:schemeClr val="tx2"/>
                </a:solidFill>
                <a:latin typeface="+mj-lt"/>
              </a:rPr>
              <a:t>Greg Crymble</a:t>
            </a:r>
            <a:endParaRPr lang="en-GB" sz="1050" noProof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7" name="Image Placeholder">
            <a:extLst>
              <a:ext uri="{FF2B5EF4-FFF2-40B4-BE49-F238E27FC236}">
                <a16:creationId xmlns:a16="http://schemas.microsoft.com/office/drawing/2014/main" id="{CDD34843-AB57-4388-BDBB-1B985A57EB1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12224" y="0"/>
            <a:ext cx="4079776" cy="6858000"/>
          </a:xfrm>
        </p:spPr>
        <p:txBody>
          <a:bodyPr lIns="540000" tIns="1080000" rIns="72000" anchor="ctr" anchorCtr="0"/>
          <a:lstStyle>
            <a:lvl1pPr marL="0" indent="0" algn="ctr">
              <a:buFontTx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on Media Hub to insert Clariant Image</a:t>
            </a:r>
          </a:p>
        </p:txBody>
      </p:sp>
      <p:sp>
        <p:nvSpPr>
          <p:cNvPr id="16" name="Subtitle Placeholder">
            <a:extLst>
              <a:ext uri="{FF2B5EF4-FFF2-40B4-BE49-F238E27FC236}">
                <a16:creationId xmlns:a16="http://schemas.microsoft.com/office/drawing/2014/main" id="{D7EAA676-C83B-49B8-AAAB-D5170F036FB5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31800" y="3312458"/>
            <a:ext cx="5664200" cy="2096761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00" b="0" cap="none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" name="Title Placeholder"/>
          <p:cNvSpPr>
            <a:spLocks noGrp="1"/>
          </p:cNvSpPr>
          <p:nvPr>
            <p:ph type="ctrTitle"/>
          </p:nvPr>
        </p:nvSpPr>
        <p:spPr bwMode="gray">
          <a:xfrm>
            <a:off x="431800" y="431800"/>
            <a:ext cx="7392392" cy="2713650"/>
          </a:xfrm>
        </p:spPr>
        <p:txBody>
          <a:bodyPr anchor="b"/>
          <a:lstStyle>
            <a:lvl1pPr>
              <a:lnSpc>
                <a:spcPct val="90000"/>
              </a:lnSpc>
              <a:defRPr sz="4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grpSp>
        <p:nvGrpSpPr>
          <p:cNvPr id="3" name="RightArea">
            <a:extLst>
              <a:ext uri="{FF2B5EF4-FFF2-40B4-BE49-F238E27FC236}">
                <a16:creationId xmlns:a16="http://schemas.microsoft.com/office/drawing/2014/main" id="{E0A2F0B9-5794-4A52-B4BD-7279015F2F2E}"/>
              </a:ext>
            </a:extLst>
          </p:cNvPr>
          <p:cNvGrpSpPr/>
          <p:nvPr userDrawn="1">
            <p:custDataLst>
              <p:tags r:id="rId6"/>
            </p:custDataLst>
          </p:nvPr>
        </p:nvGrpSpPr>
        <p:grpSpPr>
          <a:xfrm>
            <a:off x="8616280" y="215848"/>
            <a:ext cx="3575720" cy="6642152"/>
            <a:chOff x="8616280" y="215848"/>
            <a:chExt cx="3575720" cy="6642152"/>
          </a:xfrm>
        </p:grpSpPr>
        <p:sp>
          <p:nvSpPr>
            <p:cNvPr id="15" name="BadgeOutline">
              <a:extLst>
                <a:ext uri="{FF2B5EF4-FFF2-40B4-BE49-F238E27FC236}">
                  <a16:creationId xmlns:a16="http://schemas.microsoft.com/office/drawing/2014/main" id="{2BDEC498-9B3F-4B4A-826E-82DF5F377E10}"/>
                </a:ext>
              </a:extLst>
            </p:cNvPr>
            <p:cNvSpPr/>
            <p:nvPr userDrawn="1"/>
          </p:nvSpPr>
          <p:spPr bwMode="gray">
            <a:xfrm>
              <a:off x="8616280" y="2564904"/>
              <a:ext cx="3575720" cy="4293096"/>
            </a:xfrm>
            <a:custGeom>
              <a:avLst/>
              <a:gdLst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34546 h 4293096"/>
                <a:gd name="connsiteX17" fmla="*/ 18798 w 3575720"/>
                <a:gd name="connsiteY17" fmla="*/ 4293096 h 4293096"/>
                <a:gd name="connsiteX18" fmla="*/ 5903 w 3575720"/>
                <a:gd name="connsiteY18" fmla="*/ 4293096 h 4293096"/>
                <a:gd name="connsiteX19" fmla="*/ 0 w 3575720"/>
                <a:gd name="connsiteY19" fmla="*/ 4234546 h 4293096"/>
                <a:gd name="connsiteX20" fmla="*/ 0 w 3575720"/>
                <a:gd name="connsiteY20" fmla="*/ 876091 h 4293096"/>
                <a:gd name="connsiteX21" fmla="*/ 876091 w 3575720"/>
                <a:gd name="connsiteY21" fmla="*/ 0 h 429309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34546 h 4293096"/>
                <a:gd name="connsiteX17" fmla="*/ 18798 w 3575720"/>
                <a:gd name="connsiteY17" fmla="*/ 4293096 h 4293096"/>
                <a:gd name="connsiteX18" fmla="*/ 0 w 3575720"/>
                <a:gd name="connsiteY18" fmla="*/ 4234546 h 4293096"/>
                <a:gd name="connsiteX19" fmla="*/ 0 w 3575720"/>
                <a:gd name="connsiteY19" fmla="*/ 876091 h 4293096"/>
                <a:gd name="connsiteX20" fmla="*/ 876091 w 3575720"/>
                <a:gd name="connsiteY20" fmla="*/ 0 h 4293096"/>
                <a:gd name="connsiteX0" fmla="*/ 2555383 w 3575720"/>
                <a:gd name="connsiteY0" fmla="*/ 2312504 h 4234546"/>
                <a:gd name="connsiteX1" fmla="*/ 3575720 w 3575720"/>
                <a:gd name="connsiteY1" fmla="*/ 2312504 h 4234546"/>
                <a:gd name="connsiteX2" fmla="*/ 3575720 w 3575720"/>
                <a:gd name="connsiteY2" fmla="*/ 2325253 h 4234546"/>
                <a:gd name="connsiteX3" fmla="*/ 2555383 w 3575720"/>
                <a:gd name="connsiteY3" fmla="*/ 2325253 h 4234546"/>
                <a:gd name="connsiteX4" fmla="*/ 2325382 w 3575720"/>
                <a:gd name="connsiteY4" fmla="*/ 2555254 h 4234546"/>
                <a:gd name="connsiteX5" fmla="*/ 2555383 w 3575720"/>
                <a:gd name="connsiteY5" fmla="*/ 2785255 h 4234546"/>
                <a:gd name="connsiteX6" fmla="*/ 3575720 w 3575720"/>
                <a:gd name="connsiteY6" fmla="*/ 2785255 h 4234546"/>
                <a:gd name="connsiteX7" fmla="*/ 3575720 w 3575720"/>
                <a:gd name="connsiteY7" fmla="*/ 2798262 h 4234546"/>
                <a:gd name="connsiteX8" fmla="*/ 2555383 w 3575720"/>
                <a:gd name="connsiteY8" fmla="*/ 2798262 h 4234546"/>
                <a:gd name="connsiteX9" fmla="*/ 2312504 w 3575720"/>
                <a:gd name="connsiteY9" fmla="*/ 2555383 h 4234546"/>
                <a:gd name="connsiteX10" fmla="*/ 2555383 w 3575720"/>
                <a:gd name="connsiteY10" fmla="*/ 2312504 h 4234546"/>
                <a:gd name="connsiteX11" fmla="*/ 876091 w 3575720"/>
                <a:gd name="connsiteY11" fmla="*/ 0 h 4234546"/>
                <a:gd name="connsiteX12" fmla="*/ 3575720 w 3575720"/>
                <a:gd name="connsiteY12" fmla="*/ 0 h 4234546"/>
                <a:gd name="connsiteX13" fmla="*/ 3575720 w 3575720"/>
                <a:gd name="connsiteY13" fmla="*/ 12878 h 4234546"/>
                <a:gd name="connsiteX14" fmla="*/ 876091 w 3575720"/>
                <a:gd name="connsiteY14" fmla="*/ 12878 h 4234546"/>
                <a:gd name="connsiteX15" fmla="*/ 12878 w 3575720"/>
                <a:gd name="connsiteY15" fmla="*/ 876091 h 4234546"/>
                <a:gd name="connsiteX16" fmla="*/ 12878 w 3575720"/>
                <a:gd name="connsiteY16" fmla="*/ 4234546 h 4234546"/>
                <a:gd name="connsiteX17" fmla="*/ 0 w 3575720"/>
                <a:gd name="connsiteY17" fmla="*/ 4234546 h 4234546"/>
                <a:gd name="connsiteX18" fmla="*/ 0 w 3575720"/>
                <a:gd name="connsiteY18" fmla="*/ 876091 h 4234546"/>
                <a:gd name="connsiteX19" fmla="*/ 876091 w 3575720"/>
                <a:gd name="connsiteY19" fmla="*/ 0 h 423454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93096 h 4293096"/>
                <a:gd name="connsiteX17" fmla="*/ 0 w 3575720"/>
                <a:gd name="connsiteY17" fmla="*/ 4234546 h 4293096"/>
                <a:gd name="connsiteX18" fmla="*/ 0 w 3575720"/>
                <a:gd name="connsiteY18" fmla="*/ 876091 h 4293096"/>
                <a:gd name="connsiteX19" fmla="*/ 876091 w 3575720"/>
                <a:gd name="connsiteY19" fmla="*/ 0 h 4293096"/>
                <a:gd name="connsiteX0" fmla="*/ 2555383 w 3575720"/>
                <a:gd name="connsiteY0" fmla="*/ 2312504 h 4293096"/>
                <a:gd name="connsiteX1" fmla="*/ 3575720 w 3575720"/>
                <a:gd name="connsiteY1" fmla="*/ 2312504 h 4293096"/>
                <a:gd name="connsiteX2" fmla="*/ 3575720 w 3575720"/>
                <a:gd name="connsiteY2" fmla="*/ 2325253 h 4293096"/>
                <a:gd name="connsiteX3" fmla="*/ 2555383 w 3575720"/>
                <a:gd name="connsiteY3" fmla="*/ 2325253 h 4293096"/>
                <a:gd name="connsiteX4" fmla="*/ 2325382 w 3575720"/>
                <a:gd name="connsiteY4" fmla="*/ 2555254 h 4293096"/>
                <a:gd name="connsiteX5" fmla="*/ 2555383 w 3575720"/>
                <a:gd name="connsiteY5" fmla="*/ 2785255 h 4293096"/>
                <a:gd name="connsiteX6" fmla="*/ 3575720 w 3575720"/>
                <a:gd name="connsiteY6" fmla="*/ 2785255 h 4293096"/>
                <a:gd name="connsiteX7" fmla="*/ 3575720 w 3575720"/>
                <a:gd name="connsiteY7" fmla="*/ 2798262 h 4293096"/>
                <a:gd name="connsiteX8" fmla="*/ 2555383 w 3575720"/>
                <a:gd name="connsiteY8" fmla="*/ 2798262 h 4293096"/>
                <a:gd name="connsiteX9" fmla="*/ 2312504 w 3575720"/>
                <a:gd name="connsiteY9" fmla="*/ 2555383 h 4293096"/>
                <a:gd name="connsiteX10" fmla="*/ 2555383 w 3575720"/>
                <a:gd name="connsiteY10" fmla="*/ 2312504 h 4293096"/>
                <a:gd name="connsiteX11" fmla="*/ 876091 w 3575720"/>
                <a:gd name="connsiteY11" fmla="*/ 0 h 4293096"/>
                <a:gd name="connsiteX12" fmla="*/ 3575720 w 3575720"/>
                <a:gd name="connsiteY12" fmla="*/ 0 h 4293096"/>
                <a:gd name="connsiteX13" fmla="*/ 3575720 w 3575720"/>
                <a:gd name="connsiteY13" fmla="*/ 12878 h 4293096"/>
                <a:gd name="connsiteX14" fmla="*/ 876091 w 3575720"/>
                <a:gd name="connsiteY14" fmla="*/ 12878 h 4293096"/>
                <a:gd name="connsiteX15" fmla="*/ 12878 w 3575720"/>
                <a:gd name="connsiteY15" fmla="*/ 876091 h 4293096"/>
                <a:gd name="connsiteX16" fmla="*/ 12878 w 3575720"/>
                <a:gd name="connsiteY16" fmla="*/ 4293096 h 4293096"/>
                <a:gd name="connsiteX17" fmla="*/ 0 w 3575720"/>
                <a:gd name="connsiteY17" fmla="*/ 4293096 h 4293096"/>
                <a:gd name="connsiteX18" fmla="*/ 0 w 3575720"/>
                <a:gd name="connsiteY18" fmla="*/ 876091 h 4293096"/>
                <a:gd name="connsiteX19" fmla="*/ 876091 w 3575720"/>
                <a:gd name="connsiteY19" fmla="*/ 0 h 4293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575720" h="4293096">
                  <a:moveTo>
                    <a:pt x="2555383" y="2312504"/>
                  </a:moveTo>
                  <a:lnTo>
                    <a:pt x="3575720" y="2312504"/>
                  </a:lnTo>
                  <a:lnTo>
                    <a:pt x="3575720" y="2325253"/>
                  </a:lnTo>
                  <a:lnTo>
                    <a:pt x="2555383" y="2325253"/>
                  </a:lnTo>
                  <a:cubicBezTo>
                    <a:pt x="2428406" y="2325253"/>
                    <a:pt x="2325382" y="2428277"/>
                    <a:pt x="2325382" y="2555254"/>
                  </a:cubicBezTo>
                  <a:cubicBezTo>
                    <a:pt x="2325382" y="2682231"/>
                    <a:pt x="2428406" y="2785255"/>
                    <a:pt x="2555383" y="2785255"/>
                  </a:cubicBezTo>
                  <a:lnTo>
                    <a:pt x="3575720" y="2785255"/>
                  </a:lnTo>
                  <a:lnTo>
                    <a:pt x="3575720" y="2798262"/>
                  </a:lnTo>
                  <a:lnTo>
                    <a:pt x="2555383" y="2798262"/>
                  </a:lnTo>
                  <a:cubicBezTo>
                    <a:pt x="2421451" y="2798262"/>
                    <a:pt x="2312504" y="2689314"/>
                    <a:pt x="2312504" y="2555383"/>
                  </a:cubicBezTo>
                  <a:cubicBezTo>
                    <a:pt x="2312504" y="2421451"/>
                    <a:pt x="2421451" y="2312504"/>
                    <a:pt x="2555383" y="2312504"/>
                  </a:cubicBezTo>
                  <a:close/>
                  <a:moveTo>
                    <a:pt x="876091" y="0"/>
                  </a:moveTo>
                  <a:lnTo>
                    <a:pt x="3575720" y="0"/>
                  </a:lnTo>
                  <a:lnTo>
                    <a:pt x="3575720" y="12878"/>
                  </a:lnTo>
                  <a:lnTo>
                    <a:pt x="876091" y="12878"/>
                  </a:lnTo>
                  <a:cubicBezTo>
                    <a:pt x="400120" y="12878"/>
                    <a:pt x="12878" y="400120"/>
                    <a:pt x="12878" y="876091"/>
                  </a:cubicBezTo>
                  <a:lnTo>
                    <a:pt x="12878" y="4293096"/>
                  </a:lnTo>
                  <a:lnTo>
                    <a:pt x="0" y="4293096"/>
                  </a:lnTo>
                  <a:lnTo>
                    <a:pt x="0" y="876091"/>
                  </a:lnTo>
                  <a:cubicBezTo>
                    <a:pt x="0" y="392264"/>
                    <a:pt x="392264" y="0"/>
                    <a:pt x="876091" y="0"/>
                  </a:cubicBezTo>
                  <a:close/>
                </a:path>
              </a:pathLst>
            </a:custGeom>
            <a:solidFill>
              <a:schemeClr val="tx2"/>
            </a:solidFill>
            <a:ln w="128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17" name="Logo">
              <a:extLst>
                <a:ext uri="{FF2B5EF4-FFF2-40B4-BE49-F238E27FC236}">
                  <a16:creationId xmlns:a16="http://schemas.microsoft.com/office/drawing/2014/main" id="{DF49C37D-E234-4212-AC89-E765467F6766}"/>
                </a:ext>
              </a:extLst>
            </p:cNvPr>
            <p:cNvSpPr/>
            <p:nvPr/>
          </p:nvSpPr>
          <p:spPr bwMode="gray">
            <a:xfrm>
              <a:off x="10177458" y="215848"/>
              <a:ext cx="1798344" cy="419950"/>
            </a:xfrm>
            <a:custGeom>
              <a:avLst/>
              <a:gdLst>
                <a:gd name="connsiteX0" fmla="*/ 1015493 w 1798344"/>
                <a:gd name="connsiteY0" fmla="*/ 267913 h 419950"/>
                <a:gd name="connsiteX1" fmla="*/ 988878 w 1798344"/>
                <a:gd name="connsiteY1" fmla="*/ 332853 h 419950"/>
                <a:gd name="connsiteX2" fmla="*/ 1042105 w 1798344"/>
                <a:gd name="connsiteY2" fmla="*/ 332853 h 419950"/>
                <a:gd name="connsiteX3" fmla="*/ 468589 w 1798344"/>
                <a:gd name="connsiteY3" fmla="*/ 267913 h 419950"/>
                <a:gd name="connsiteX4" fmla="*/ 441977 w 1798344"/>
                <a:gd name="connsiteY4" fmla="*/ 332853 h 419950"/>
                <a:gd name="connsiteX5" fmla="*/ 495204 w 1798344"/>
                <a:gd name="connsiteY5" fmla="*/ 332853 h 419950"/>
                <a:gd name="connsiteX6" fmla="*/ 652079 w 1798344"/>
                <a:gd name="connsiteY6" fmla="*/ 256195 h 419950"/>
                <a:gd name="connsiteX7" fmla="*/ 652079 w 1798344"/>
                <a:gd name="connsiteY7" fmla="*/ 313624 h 419950"/>
                <a:gd name="connsiteX8" fmla="*/ 696645 w 1798344"/>
                <a:gd name="connsiteY8" fmla="*/ 313624 h 419950"/>
                <a:gd name="connsiteX9" fmla="*/ 730390 w 1798344"/>
                <a:gd name="connsiteY9" fmla="*/ 285356 h 419950"/>
                <a:gd name="connsiteX10" fmla="*/ 730518 w 1798344"/>
                <a:gd name="connsiteY10" fmla="*/ 285356 h 419950"/>
                <a:gd name="connsiteX11" fmla="*/ 730518 w 1798344"/>
                <a:gd name="connsiteY11" fmla="*/ 284720 h 419950"/>
                <a:gd name="connsiteX12" fmla="*/ 695881 w 1798344"/>
                <a:gd name="connsiteY12" fmla="*/ 256195 h 419950"/>
                <a:gd name="connsiteX13" fmla="*/ 218759 w 1798344"/>
                <a:gd name="connsiteY13" fmla="*/ 216596 h 419950"/>
                <a:gd name="connsiteX14" fmla="*/ 262818 w 1798344"/>
                <a:gd name="connsiteY14" fmla="*/ 216596 h 419950"/>
                <a:gd name="connsiteX15" fmla="*/ 262818 w 1798344"/>
                <a:gd name="connsiteY15" fmla="*/ 376656 h 419950"/>
                <a:gd name="connsiteX16" fmla="*/ 337944 w 1798344"/>
                <a:gd name="connsiteY16" fmla="*/ 376656 h 419950"/>
                <a:gd name="connsiteX17" fmla="*/ 337944 w 1798344"/>
                <a:gd name="connsiteY17" fmla="*/ 416638 h 419950"/>
                <a:gd name="connsiteX18" fmla="*/ 218759 w 1798344"/>
                <a:gd name="connsiteY18" fmla="*/ 416638 h 419950"/>
                <a:gd name="connsiteX19" fmla="*/ 1374576 w 1798344"/>
                <a:gd name="connsiteY19" fmla="*/ 216467 h 419950"/>
                <a:gd name="connsiteX20" fmla="*/ 1540365 w 1798344"/>
                <a:gd name="connsiteY20" fmla="*/ 216467 h 419950"/>
                <a:gd name="connsiteX21" fmla="*/ 1540365 w 1798344"/>
                <a:gd name="connsiteY21" fmla="*/ 257088 h 419950"/>
                <a:gd name="connsiteX22" fmla="*/ 1479499 w 1798344"/>
                <a:gd name="connsiteY22" fmla="*/ 257088 h 419950"/>
                <a:gd name="connsiteX23" fmla="*/ 1479499 w 1798344"/>
                <a:gd name="connsiteY23" fmla="*/ 416637 h 419950"/>
                <a:gd name="connsiteX24" fmla="*/ 1435440 w 1798344"/>
                <a:gd name="connsiteY24" fmla="*/ 416637 h 419950"/>
                <a:gd name="connsiteX25" fmla="*/ 1435440 w 1798344"/>
                <a:gd name="connsiteY25" fmla="*/ 257088 h 419950"/>
                <a:gd name="connsiteX26" fmla="*/ 1374576 w 1798344"/>
                <a:gd name="connsiteY26" fmla="*/ 257088 h 419950"/>
                <a:gd name="connsiteX27" fmla="*/ 1155049 w 1798344"/>
                <a:gd name="connsiteY27" fmla="*/ 216467 h 419950"/>
                <a:gd name="connsiteX28" fmla="*/ 1195670 w 1798344"/>
                <a:gd name="connsiteY28" fmla="*/ 216467 h 419950"/>
                <a:gd name="connsiteX29" fmla="*/ 1289389 w 1798344"/>
                <a:gd name="connsiteY29" fmla="*/ 339729 h 419950"/>
                <a:gd name="connsiteX30" fmla="*/ 1289389 w 1798344"/>
                <a:gd name="connsiteY30" fmla="*/ 216467 h 419950"/>
                <a:gd name="connsiteX31" fmla="*/ 1332937 w 1798344"/>
                <a:gd name="connsiteY31" fmla="*/ 216467 h 419950"/>
                <a:gd name="connsiteX32" fmla="*/ 1332937 w 1798344"/>
                <a:gd name="connsiteY32" fmla="*/ 416637 h 419950"/>
                <a:gd name="connsiteX33" fmla="*/ 1295373 w 1798344"/>
                <a:gd name="connsiteY33" fmla="*/ 416637 h 419950"/>
                <a:gd name="connsiteX34" fmla="*/ 1198472 w 1798344"/>
                <a:gd name="connsiteY34" fmla="*/ 289430 h 419950"/>
                <a:gd name="connsiteX35" fmla="*/ 1198472 w 1798344"/>
                <a:gd name="connsiteY35" fmla="*/ 416637 h 419950"/>
                <a:gd name="connsiteX36" fmla="*/ 1155049 w 1798344"/>
                <a:gd name="connsiteY36" fmla="*/ 416637 h 419950"/>
                <a:gd name="connsiteX37" fmla="*/ 831111 w 1798344"/>
                <a:gd name="connsiteY37" fmla="*/ 216467 h 419950"/>
                <a:gd name="connsiteX38" fmla="*/ 875170 w 1798344"/>
                <a:gd name="connsiteY38" fmla="*/ 216467 h 419950"/>
                <a:gd name="connsiteX39" fmla="*/ 875170 w 1798344"/>
                <a:gd name="connsiteY39" fmla="*/ 416637 h 419950"/>
                <a:gd name="connsiteX40" fmla="*/ 831111 w 1798344"/>
                <a:gd name="connsiteY40" fmla="*/ 416637 h 419950"/>
                <a:gd name="connsiteX41" fmla="*/ 608149 w 1798344"/>
                <a:gd name="connsiteY41" fmla="*/ 216467 h 419950"/>
                <a:gd name="connsiteX42" fmla="*/ 699576 w 1798344"/>
                <a:gd name="connsiteY42" fmla="*/ 216467 h 419950"/>
                <a:gd name="connsiteX43" fmla="*/ 775084 w 1798344"/>
                <a:gd name="connsiteY43" fmla="*/ 282554 h 419950"/>
                <a:gd name="connsiteX44" fmla="*/ 775084 w 1798344"/>
                <a:gd name="connsiteY44" fmla="*/ 283192 h 419950"/>
                <a:gd name="connsiteX45" fmla="*/ 732172 w 1798344"/>
                <a:gd name="connsiteY45" fmla="*/ 345202 h 419950"/>
                <a:gd name="connsiteX46" fmla="*/ 781197 w 1798344"/>
                <a:gd name="connsiteY46" fmla="*/ 416637 h 419950"/>
                <a:gd name="connsiteX47" fmla="*/ 729754 w 1798344"/>
                <a:gd name="connsiteY47" fmla="*/ 416637 h 419950"/>
                <a:gd name="connsiteX48" fmla="*/ 686842 w 1798344"/>
                <a:gd name="connsiteY48" fmla="*/ 352589 h 419950"/>
                <a:gd name="connsiteX49" fmla="*/ 652208 w 1798344"/>
                <a:gd name="connsiteY49" fmla="*/ 352589 h 419950"/>
                <a:gd name="connsiteX50" fmla="*/ 652208 w 1798344"/>
                <a:gd name="connsiteY50" fmla="*/ 416637 h 419950"/>
                <a:gd name="connsiteX51" fmla="*/ 608149 w 1798344"/>
                <a:gd name="connsiteY51" fmla="*/ 416637 h 419950"/>
                <a:gd name="connsiteX52" fmla="*/ 995754 w 1798344"/>
                <a:gd name="connsiteY52" fmla="*/ 215068 h 419950"/>
                <a:gd name="connsiteX53" fmla="*/ 1036375 w 1798344"/>
                <a:gd name="connsiteY53" fmla="*/ 215068 h 419950"/>
                <a:gd name="connsiteX54" fmla="*/ 1122326 w 1798344"/>
                <a:gd name="connsiteY54" fmla="*/ 416638 h 419950"/>
                <a:gd name="connsiteX55" fmla="*/ 1076232 w 1798344"/>
                <a:gd name="connsiteY55" fmla="*/ 416638 h 419950"/>
                <a:gd name="connsiteX56" fmla="*/ 1057896 w 1798344"/>
                <a:gd name="connsiteY56" fmla="*/ 371689 h 419950"/>
                <a:gd name="connsiteX57" fmla="*/ 973216 w 1798344"/>
                <a:gd name="connsiteY57" fmla="*/ 371689 h 419950"/>
                <a:gd name="connsiteX58" fmla="*/ 954880 w 1798344"/>
                <a:gd name="connsiteY58" fmla="*/ 416638 h 419950"/>
                <a:gd name="connsiteX59" fmla="*/ 909932 w 1798344"/>
                <a:gd name="connsiteY59" fmla="*/ 416638 h 419950"/>
                <a:gd name="connsiteX60" fmla="*/ 446561 w 1798344"/>
                <a:gd name="connsiteY60" fmla="*/ 215068 h 419950"/>
                <a:gd name="connsiteX61" fmla="*/ 489474 w 1798344"/>
                <a:gd name="connsiteY61" fmla="*/ 215068 h 419950"/>
                <a:gd name="connsiteX62" fmla="*/ 575297 w 1798344"/>
                <a:gd name="connsiteY62" fmla="*/ 416638 h 419950"/>
                <a:gd name="connsiteX63" fmla="*/ 529328 w 1798344"/>
                <a:gd name="connsiteY63" fmla="*/ 416638 h 419950"/>
                <a:gd name="connsiteX64" fmla="*/ 510992 w 1798344"/>
                <a:gd name="connsiteY64" fmla="*/ 371689 h 419950"/>
                <a:gd name="connsiteX65" fmla="*/ 426315 w 1798344"/>
                <a:gd name="connsiteY65" fmla="*/ 371689 h 419950"/>
                <a:gd name="connsiteX66" fmla="*/ 407979 w 1798344"/>
                <a:gd name="connsiteY66" fmla="*/ 416638 h 419950"/>
                <a:gd name="connsiteX67" fmla="*/ 363031 w 1798344"/>
                <a:gd name="connsiteY67" fmla="*/ 416638 h 419950"/>
                <a:gd name="connsiteX68" fmla="*/ 104415 w 1798344"/>
                <a:gd name="connsiteY68" fmla="*/ 213029 h 419950"/>
                <a:gd name="connsiteX69" fmla="*/ 183362 w 1798344"/>
                <a:gd name="connsiteY69" fmla="*/ 243846 h 419950"/>
                <a:gd name="connsiteX70" fmla="*/ 155347 w 1798344"/>
                <a:gd name="connsiteY70" fmla="*/ 276188 h 419950"/>
                <a:gd name="connsiteX71" fmla="*/ 104159 w 1798344"/>
                <a:gd name="connsiteY71" fmla="*/ 253650 h 419950"/>
                <a:gd name="connsiteX72" fmla="*/ 46094 w 1798344"/>
                <a:gd name="connsiteY72" fmla="*/ 315916 h 419950"/>
                <a:gd name="connsiteX73" fmla="*/ 46094 w 1798344"/>
                <a:gd name="connsiteY73" fmla="*/ 316552 h 419950"/>
                <a:gd name="connsiteX74" fmla="*/ 104033 w 1798344"/>
                <a:gd name="connsiteY74" fmla="*/ 379329 h 419950"/>
                <a:gd name="connsiteX75" fmla="*/ 156621 w 1798344"/>
                <a:gd name="connsiteY75" fmla="*/ 355898 h 419950"/>
                <a:gd name="connsiteX76" fmla="*/ 184636 w 1798344"/>
                <a:gd name="connsiteY76" fmla="*/ 384167 h 419950"/>
                <a:gd name="connsiteX77" fmla="*/ 102631 w 1798344"/>
                <a:gd name="connsiteY77" fmla="*/ 419950 h 419950"/>
                <a:gd name="connsiteX78" fmla="*/ 0 w 1798344"/>
                <a:gd name="connsiteY78" fmla="*/ 317062 h 419950"/>
                <a:gd name="connsiteX79" fmla="*/ 0 w 1798344"/>
                <a:gd name="connsiteY79" fmla="*/ 316552 h 419950"/>
                <a:gd name="connsiteX80" fmla="*/ 104415 w 1798344"/>
                <a:gd name="connsiteY80" fmla="*/ 213029 h 419950"/>
                <a:gd name="connsiteX81" fmla="*/ 1617913 w 1798344"/>
                <a:gd name="connsiteY81" fmla="*/ 0 h 419950"/>
                <a:gd name="connsiteX82" fmla="*/ 1798344 w 1798344"/>
                <a:gd name="connsiteY82" fmla="*/ 0 h 419950"/>
                <a:gd name="connsiteX83" fmla="*/ 1798344 w 1798344"/>
                <a:gd name="connsiteY83" fmla="*/ 95247 h 419950"/>
                <a:gd name="connsiteX84" fmla="*/ 1690111 w 1798344"/>
                <a:gd name="connsiteY84" fmla="*/ 95247 h 419950"/>
                <a:gd name="connsiteX85" fmla="*/ 1677123 w 1798344"/>
                <a:gd name="connsiteY85" fmla="*/ 108235 h 419950"/>
                <a:gd name="connsiteX86" fmla="*/ 1690111 w 1798344"/>
                <a:gd name="connsiteY86" fmla="*/ 121224 h 419950"/>
                <a:gd name="connsiteX87" fmla="*/ 1798344 w 1798344"/>
                <a:gd name="connsiteY87" fmla="*/ 121224 h 419950"/>
                <a:gd name="connsiteX88" fmla="*/ 1798344 w 1798344"/>
                <a:gd name="connsiteY88" fmla="*/ 216468 h 419950"/>
                <a:gd name="connsiteX89" fmla="*/ 1617913 w 1798344"/>
                <a:gd name="connsiteY89" fmla="*/ 216468 h 419950"/>
                <a:gd name="connsiteX90" fmla="*/ 1581876 w 1798344"/>
                <a:gd name="connsiteY90" fmla="*/ 180434 h 419950"/>
                <a:gd name="connsiteX91" fmla="*/ 1581876 w 1798344"/>
                <a:gd name="connsiteY91" fmla="*/ 36037 h 419950"/>
                <a:gd name="connsiteX92" fmla="*/ 1617913 w 1798344"/>
                <a:gd name="connsiteY92" fmla="*/ 0 h 41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798344" h="419950">
                  <a:moveTo>
                    <a:pt x="1015493" y="267913"/>
                  </a:moveTo>
                  <a:lnTo>
                    <a:pt x="988878" y="332853"/>
                  </a:lnTo>
                  <a:lnTo>
                    <a:pt x="1042105" y="332853"/>
                  </a:lnTo>
                  <a:close/>
                  <a:moveTo>
                    <a:pt x="468589" y="267913"/>
                  </a:moveTo>
                  <a:lnTo>
                    <a:pt x="441977" y="332853"/>
                  </a:lnTo>
                  <a:lnTo>
                    <a:pt x="495204" y="332853"/>
                  </a:lnTo>
                  <a:close/>
                  <a:moveTo>
                    <a:pt x="652079" y="256195"/>
                  </a:moveTo>
                  <a:lnTo>
                    <a:pt x="652079" y="313624"/>
                  </a:lnTo>
                  <a:lnTo>
                    <a:pt x="696645" y="313624"/>
                  </a:lnTo>
                  <a:cubicBezTo>
                    <a:pt x="718038" y="313624"/>
                    <a:pt x="730390" y="302293"/>
                    <a:pt x="730390" y="285356"/>
                  </a:cubicBezTo>
                  <a:lnTo>
                    <a:pt x="730518" y="285356"/>
                  </a:lnTo>
                  <a:lnTo>
                    <a:pt x="730518" y="284720"/>
                  </a:lnTo>
                  <a:cubicBezTo>
                    <a:pt x="730518" y="265874"/>
                    <a:pt x="717274" y="256195"/>
                    <a:pt x="695881" y="256195"/>
                  </a:cubicBezTo>
                  <a:close/>
                  <a:moveTo>
                    <a:pt x="218759" y="216596"/>
                  </a:moveTo>
                  <a:lnTo>
                    <a:pt x="262818" y="216596"/>
                  </a:lnTo>
                  <a:lnTo>
                    <a:pt x="262818" y="376656"/>
                  </a:lnTo>
                  <a:lnTo>
                    <a:pt x="337944" y="376656"/>
                  </a:lnTo>
                  <a:lnTo>
                    <a:pt x="337944" y="416638"/>
                  </a:lnTo>
                  <a:lnTo>
                    <a:pt x="218759" y="416638"/>
                  </a:lnTo>
                  <a:close/>
                  <a:moveTo>
                    <a:pt x="1374576" y="216467"/>
                  </a:moveTo>
                  <a:lnTo>
                    <a:pt x="1540365" y="216467"/>
                  </a:lnTo>
                  <a:lnTo>
                    <a:pt x="1540365" y="257088"/>
                  </a:lnTo>
                  <a:lnTo>
                    <a:pt x="1479499" y="257088"/>
                  </a:lnTo>
                  <a:lnTo>
                    <a:pt x="1479499" y="416637"/>
                  </a:lnTo>
                  <a:lnTo>
                    <a:pt x="1435440" y="416637"/>
                  </a:lnTo>
                  <a:lnTo>
                    <a:pt x="1435440" y="257088"/>
                  </a:lnTo>
                  <a:lnTo>
                    <a:pt x="1374576" y="257088"/>
                  </a:lnTo>
                  <a:close/>
                  <a:moveTo>
                    <a:pt x="1155049" y="216467"/>
                  </a:moveTo>
                  <a:lnTo>
                    <a:pt x="1195670" y="216467"/>
                  </a:lnTo>
                  <a:lnTo>
                    <a:pt x="1289389" y="339729"/>
                  </a:lnTo>
                  <a:lnTo>
                    <a:pt x="1289389" y="216467"/>
                  </a:lnTo>
                  <a:lnTo>
                    <a:pt x="1332937" y="216467"/>
                  </a:lnTo>
                  <a:lnTo>
                    <a:pt x="1332937" y="416637"/>
                  </a:lnTo>
                  <a:lnTo>
                    <a:pt x="1295373" y="416637"/>
                  </a:lnTo>
                  <a:lnTo>
                    <a:pt x="1198472" y="289430"/>
                  </a:lnTo>
                  <a:lnTo>
                    <a:pt x="1198472" y="416637"/>
                  </a:lnTo>
                  <a:lnTo>
                    <a:pt x="1155049" y="416637"/>
                  </a:lnTo>
                  <a:close/>
                  <a:moveTo>
                    <a:pt x="831111" y="216467"/>
                  </a:moveTo>
                  <a:lnTo>
                    <a:pt x="875170" y="216467"/>
                  </a:lnTo>
                  <a:lnTo>
                    <a:pt x="875170" y="416637"/>
                  </a:lnTo>
                  <a:lnTo>
                    <a:pt x="831111" y="416637"/>
                  </a:lnTo>
                  <a:close/>
                  <a:moveTo>
                    <a:pt x="608149" y="216467"/>
                  </a:moveTo>
                  <a:lnTo>
                    <a:pt x="699576" y="216467"/>
                  </a:lnTo>
                  <a:cubicBezTo>
                    <a:pt x="746816" y="216467"/>
                    <a:pt x="775084" y="241426"/>
                    <a:pt x="775084" y="282554"/>
                  </a:cubicBezTo>
                  <a:lnTo>
                    <a:pt x="775084" y="283192"/>
                  </a:lnTo>
                  <a:cubicBezTo>
                    <a:pt x="775084" y="315534"/>
                    <a:pt x="757641" y="335780"/>
                    <a:pt x="732172" y="345202"/>
                  </a:cubicBezTo>
                  <a:lnTo>
                    <a:pt x="781197" y="416637"/>
                  </a:lnTo>
                  <a:lnTo>
                    <a:pt x="729754" y="416637"/>
                  </a:lnTo>
                  <a:lnTo>
                    <a:pt x="686842" y="352589"/>
                  </a:lnTo>
                  <a:lnTo>
                    <a:pt x="652208" y="352589"/>
                  </a:lnTo>
                  <a:lnTo>
                    <a:pt x="652208" y="416637"/>
                  </a:lnTo>
                  <a:lnTo>
                    <a:pt x="608149" y="416637"/>
                  </a:lnTo>
                  <a:close/>
                  <a:moveTo>
                    <a:pt x="995754" y="215068"/>
                  </a:moveTo>
                  <a:lnTo>
                    <a:pt x="1036375" y="215068"/>
                  </a:lnTo>
                  <a:lnTo>
                    <a:pt x="1122326" y="416638"/>
                  </a:lnTo>
                  <a:lnTo>
                    <a:pt x="1076232" y="416638"/>
                  </a:lnTo>
                  <a:lnTo>
                    <a:pt x="1057896" y="371689"/>
                  </a:lnTo>
                  <a:lnTo>
                    <a:pt x="973216" y="371689"/>
                  </a:lnTo>
                  <a:lnTo>
                    <a:pt x="954880" y="416638"/>
                  </a:lnTo>
                  <a:lnTo>
                    <a:pt x="909932" y="416638"/>
                  </a:lnTo>
                  <a:close/>
                  <a:moveTo>
                    <a:pt x="446561" y="215068"/>
                  </a:moveTo>
                  <a:lnTo>
                    <a:pt x="489474" y="215068"/>
                  </a:lnTo>
                  <a:lnTo>
                    <a:pt x="575297" y="416638"/>
                  </a:lnTo>
                  <a:lnTo>
                    <a:pt x="529328" y="416638"/>
                  </a:lnTo>
                  <a:lnTo>
                    <a:pt x="510992" y="371689"/>
                  </a:lnTo>
                  <a:lnTo>
                    <a:pt x="426315" y="371689"/>
                  </a:lnTo>
                  <a:lnTo>
                    <a:pt x="407979" y="416638"/>
                  </a:lnTo>
                  <a:lnTo>
                    <a:pt x="363031" y="416638"/>
                  </a:lnTo>
                  <a:close/>
                  <a:moveTo>
                    <a:pt x="104415" y="213029"/>
                  </a:moveTo>
                  <a:cubicBezTo>
                    <a:pt x="142234" y="213029"/>
                    <a:pt x="164772" y="225510"/>
                    <a:pt x="183362" y="243846"/>
                  </a:cubicBezTo>
                  <a:lnTo>
                    <a:pt x="155347" y="276188"/>
                  </a:lnTo>
                  <a:cubicBezTo>
                    <a:pt x="139942" y="262182"/>
                    <a:pt x="124151" y="253650"/>
                    <a:pt x="104159" y="253650"/>
                  </a:cubicBezTo>
                  <a:cubicBezTo>
                    <a:pt x="70417" y="253650"/>
                    <a:pt x="46094" y="281664"/>
                    <a:pt x="46094" y="315916"/>
                  </a:cubicBezTo>
                  <a:lnTo>
                    <a:pt x="46094" y="316552"/>
                  </a:lnTo>
                  <a:cubicBezTo>
                    <a:pt x="46094" y="350932"/>
                    <a:pt x="69778" y="379457"/>
                    <a:pt x="104033" y="379329"/>
                  </a:cubicBezTo>
                  <a:cubicBezTo>
                    <a:pt x="126825" y="379329"/>
                    <a:pt x="140831" y="370161"/>
                    <a:pt x="156621" y="355898"/>
                  </a:cubicBezTo>
                  <a:lnTo>
                    <a:pt x="184636" y="384167"/>
                  </a:lnTo>
                  <a:cubicBezTo>
                    <a:pt x="164133" y="406198"/>
                    <a:pt x="141213" y="419950"/>
                    <a:pt x="102631" y="419950"/>
                  </a:cubicBezTo>
                  <a:cubicBezTo>
                    <a:pt x="43802" y="419950"/>
                    <a:pt x="0" y="374491"/>
                    <a:pt x="0" y="317062"/>
                  </a:cubicBezTo>
                  <a:lnTo>
                    <a:pt x="0" y="316552"/>
                  </a:lnTo>
                  <a:cubicBezTo>
                    <a:pt x="0" y="259633"/>
                    <a:pt x="42913" y="213029"/>
                    <a:pt x="104415" y="213029"/>
                  </a:cubicBezTo>
                  <a:close/>
                  <a:moveTo>
                    <a:pt x="1617913" y="0"/>
                  </a:moveTo>
                  <a:lnTo>
                    <a:pt x="1798344" y="0"/>
                  </a:lnTo>
                  <a:lnTo>
                    <a:pt x="1798344" y="95247"/>
                  </a:lnTo>
                  <a:lnTo>
                    <a:pt x="1690111" y="95247"/>
                  </a:lnTo>
                  <a:cubicBezTo>
                    <a:pt x="1682979" y="95247"/>
                    <a:pt x="1677123" y="101103"/>
                    <a:pt x="1677123" y="108235"/>
                  </a:cubicBezTo>
                  <a:cubicBezTo>
                    <a:pt x="1677123" y="115365"/>
                    <a:pt x="1682979" y="121224"/>
                    <a:pt x="1690111" y="121224"/>
                  </a:cubicBezTo>
                  <a:lnTo>
                    <a:pt x="1798344" y="121224"/>
                  </a:lnTo>
                  <a:lnTo>
                    <a:pt x="1798344" y="216468"/>
                  </a:lnTo>
                  <a:lnTo>
                    <a:pt x="1617913" y="216468"/>
                  </a:lnTo>
                  <a:cubicBezTo>
                    <a:pt x="1598048" y="216468"/>
                    <a:pt x="1581876" y="200424"/>
                    <a:pt x="1581876" y="180434"/>
                  </a:cubicBezTo>
                  <a:lnTo>
                    <a:pt x="1581876" y="36037"/>
                  </a:lnTo>
                  <a:cubicBezTo>
                    <a:pt x="1581876" y="16173"/>
                    <a:pt x="1597920" y="0"/>
                    <a:pt x="1617913" y="0"/>
                  </a:cubicBezTo>
                  <a:close/>
                </a:path>
              </a:pathLst>
            </a:custGeom>
            <a:solidFill>
              <a:schemeClr val="tx2"/>
            </a:solidFill>
            <a:ln w="3040" cap="flat">
              <a:noFill/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18" name="Claim">
              <a:extLst>
                <a:ext uri="{FF2B5EF4-FFF2-40B4-BE49-F238E27FC236}">
                  <a16:creationId xmlns:a16="http://schemas.microsoft.com/office/drawing/2014/main" id="{2C0D7523-8AA8-4FA1-99A8-85A251FF9AEF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10411200" y="6317575"/>
              <a:ext cx="1306800" cy="130539"/>
            </a:xfrm>
            <a:custGeom>
              <a:avLst/>
              <a:gdLst>
                <a:gd name="connsiteX0" fmla="*/ 216732 w 966597"/>
                <a:gd name="connsiteY0" fmla="*/ 52435 h 96555"/>
                <a:gd name="connsiteX1" fmla="*/ 203645 w 966597"/>
                <a:gd name="connsiteY1" fmla="*/ 61627 h 96555"/>
                <a:gd name="connsiteX2" fmla="*/ 203645 w 966597"/>
                <a:gd name="connsiteY2" fmla="*/ 61846 h 96555"/>
                <a:gd name="connsiteX3" fmla="*/ 214674 w 966597"/>
                <a:gd name="connsiteY3" fmla="*/ 70275 h 96555"/>
                <a:gd name="connsiteX4" fmla="*/ 229819 w 966597"/>
                <a:gd name="connsiteY4" fmla="*/ 58274 h 96555"/>
                <a:gd name="connsiteX5" fmla="*/ 229819 w 966597"/>
                <a:gd name="connsiteY5" fmla="*/ 54712 h 96555"/>
                <a:gd name="connsiteX6" fmla="*/ 216732 w 966597"/>
                <a:gd name="connsiteY6" fmla="*/ 52435 h 96555"/>
                <a:gd name="connsiteX7" fmla="*/ 594312 w 966597"/>
                <a:gd name="connsiteY7" fmla="*/ 31356 h 96555"/>
                <a:gd name="connsiteX8" fmla="*/ 579501 w 966597"/>
                <a:gd name="connsiteY8" fmla="*/ 46387 h 96555"/>
                <a:gd name="connsiteX9" fmla="*/ 608799 w 966597"/>
                <a:gd name="connsiteY9" fmla="*/ 46387 h 96555"/>
                <a:gd name="connsiteX10" fmla="*/ 594312 w 966597"/>
                <a:gd name="connsiteY10" fmla="*/ 31356 h 96555"/>
                <a:gd name="connsiteX11" fmla="*/ 324287 w 966597"/>
                <a:gd name="connsiteY11" fmla="*/ 31356 h 96555"/>
                <a:gd name="connsiteX12" fmla="*/ 309476 w 966597"/>
                <a:gd name="connsiteY12" fmla="*/ 46387 h 96555"/>
                <a:gd name="connsiteX13" fmla="*/ 338775 w 966597"/>
                <a:gd name="connsiteY13" fmla="*/ 46387 h 96555"/>
                <a:gd name="connsiteX14" fmla="*/ 324287 w 966597"/>
                <a:gd name="connsiteY14" fmla="*/ 31356 h 96555"/>
                <a:gd name="connsiteX15" fmla="*/ 153400 w 966597"/>
                <a:gd name="connsiteY15" fmla="*/ 31356 h 96555"/>
                <a:gd name="connsiteX16" fmla="*/ 138579 w 966597"/>
                <a:gd name="connsiteY16" fmla="*/ 46387 h 96555"/>
                <a:gd name="connsiteX17" fmla="*/ 167888 w 966597"/>
                <a:gd name="connsiteY17" fmla="*/ 46387 h 96555"/>
                <a:gd name="connsiteX18" fmla="*/ 153400 w 966597"/>
                <a:gd name="connsiteY18" fmla="*/ 31356 h 96555"/>
                <a:gd name="connsiteX19" fmla="*/ 907980 w 966597"/>
                <a:gd name="connsiteY19" fmla="*/ 21841 h 96555"/>
                <a:gd name="connsiteX20" fmla="*/ 921934 w 966597"/>
                <a:gd name="connsiteY20" fmla="*/ 21841 h 96555"/>
                <a:gd name="connsiteX21" fmla="*/ 938155 w 966597"/>
                <a:gd name="connsiteY21" fmla="*/ 64227 h 96555"/>
                <a:gd name="connsiteX22" fmla="*/ 952976 w 966597"/>
                <a:gd name="connsiteY22" fmla="*/ 21841 h 96555"/>
                <a:gd name="connsiteX23" fmla="*/ 966597 w 966597"/>
                <a:gd name="connsiteY23" fmla="*/ 21841 h 96555"/>
                <a:gd name="connsiteX24" fmla="*/ 943899 w 966597"/>
                <a:gd name="connsiteY24" fmla="*/ 80553 h 96555"/>
                <a:gd name="connsiteX25" fmla="*/ 925077 w 966597"/>
                <a:gd name="connsiteY25" fmla="*/ 96555 h 96555"/>
                <a:gd name="connsiteX26" fmla="*/ 911561 w 966597"/>
                <a:gd name="connsiteY26" fmla="*/ 93098 h 96555"/>
                <a:gd name="connsiteX27" fmla="*/ 915991 w 966597"/>
                <a:gd name="connsiteY27" fmla="*/ 83363 h 96555"/>
                <a:gd name="connsiteX28" fmla="*/ 923668 w 966597"/>
                <a:gd name="connsiteY28" fmla="*/ 85525 h 96555"/>
                <a:gd name="connsiteX29" fmla="*/ 931773 w 966597"/>
                <a:gd name="connsiteY29" fmla="*/ 78934 h 96555"/>
                <a:gd name="connsiteX30" fmla="*/ 738397 w 966597"/>
                <a:gd name="connsiteY30" fmla="*/ 21841 h 96555"/>
                <a:gd name="connsiteX31" fmla="*/ 751484 w 966597"/>
                <a:gd name="connsiteY31" fmla="*/ 21841 h 96555"/>
                <a:gd name="connsiteX32" fmla="*/ 751484 w 966597"/>
                <a:gd name="connsiteY32" fmla="*/ 78934 h 96555"/>
                <a:gd name="connsiteX33" fmla="*/ 738397 w 966597"/>
                <a:gd name="connsiteY33" fmla="*/ 78934 h 96555"/>
                <a:gd name="connsiteX34" fmla="*/ 217389 w 966597"/>
                <a:gd name="connsiteY34" fmla="*/ 20974 h 96555"/>
                <a:gd name="connsiteX35" fmla="*/ 242478 w 966597"/>
                <a:gd name="connsiteY35" fmla="*/ 45091 h 96555"/>
                <a:gd name="connsiteX36" fmla="*/ 242478 w 966597"/>
                <a:gd name="connsiteY36" fmla="*/ 78934 h 96555"/>
                <a:gd name="connsiteX37" fmla="*/ 229495 w 966597"/>
                <a:gd name="connsiteY37" fmla="*/ 78934 h 96555"/>
                <a:gd name="connsiteX38" fmla="*/ 229495 w 966597"/>
                <a:gd name="connsiteY38" fmla="*/ 71904 h 96555"/>
                <a:gd name="connsiteX39" fmla="*/ 211007 w 966597"/>
                <a:gd name="connsiteY39" fmla="*/ 80124 h 96555"/>
                <a:gd name="connsiteX40" fmla="*/ 190681 w 966597"/>
                <a:gd name="connsiteY40" fmla="*/ 62503 h 96555"/>
                <a:gd name="connsiteX41" fmla="*/ 190681 w 966597"/>
                <a:gd name="connsiteY41" fmla="*/ 62293 h 96555"/>
                <a:gd name="connsiteX42" fmla="*/ 213827 w 966597"/>
                <a:gd name="connsiteY42" fmla="*/ 43910 h 96555"/>
                <a:gd name="connsiteX43" fmla="*/ 229610 w 966597"/>
                <a:gd name="connsiteY43" fmla="*/ 46282 h 96555"/>
                <a:gd name="connsiteX44" fmla="*/ 229610 w 966597"/>
                <a:gd name="connsiteY44" fmla="*/ 44882 h 96555"/>
                <a:gd name="connsiteX45" fmla="*/ 215551 w 966597"/>
                <a:gd name="connsiteY45" fmla="*/ 32661 h 96555"/>
                <a:gd name="connsiteX46" fmla="*/ 199225 w 966597"/>
                <a:gd name="connsiteY46" fmla="*/ 36233 h 96555"/>
                <a:gd name="connsiteX47" fmla="*/ 195653 w 966597"/>
                <a:gd name="connsiteY47" fmla="*/ 25737 h 96555"/>
                <a:gd name="connsiteX48" fmla="*/ 217389 w 966597"/>
                <a:gd name="connsiteY48" fmla="*/ 20974 h 96555"/>
                <a:gd name="connsiteX49" fmla="*/ 786517 w 966597"/>
                <a:gd name="connsiteY49" fmla="*/ 20879 h 96555"/>
                <a:gd name="connsiteX50" fmla="*/ 807500 w 966597"/>
                <a:gd name="connsiteY50" fmla="*/ 27366 h 96555"/>
                <a:gd name="connsiteX51" fmla="*/ 802309 w 966597"/>
                <a:gd name="connsiteY51" fmla="*/ 36662 h 96555"/>
                <a:gd name="connsiteX52" fmla="*/ 786202 w 966597"/>
                <a:gd name="connsiteY52" fmla="*/ 31252 h 96555"/>
                <a:gd name="connsiteX53" fmla="*/ 778201 w 966597"/>
                <a:gd name="connsiteY53" fmla="*/ 36986 h 96555"/>
                <a:gd name="connsiteX54" fmla="*/ 778201 w 966597"/>
                <a:gd name="connsiteY54" fmla="*/ 37195 h 96555"/>
                <a:gd name="connsiteX55" fmla="*/ 791070 w 966597"/>
                <a:gd name="connsiteY55" fmla="*/ 45196 h 96555"/>
                <a:gd name="connsiteX56" fmla="*/ 808805 w 966597"/>
                <a:gd name="connsiteY56" fmla="*/ 61846 h 96555"/>
                <a:gd name="connsiteX57" fmla="*/ 808805 w 966597"/>
                <a:gd name="connsiteY57" fmla="*/ 62065 h 96555"/>
                <a:gd name="connsiteX58" fmla="*/ 787593 w 966597"/>
                <a:gd name="connsiteY58" fmla="*/ 80020 h 96555"/>
                <a:gd name="connsiteX59" fmla="*/ 763371 w 966597"/>
                <a:gd name="connsiteY59" fmla="*/ 71476 h 96555"/>
                <a:gd name="connsiteX60" fmla="*/ 769219 w 966597"/>
                <a:gd name="connsiteY60" fmla="*/ 62608 h 96555"/>
                <a:gd name="connsiteX61" fmla="*/ 787917 w 966597"/>
                <a:gd name="connsiteY61" fmla="*/ 69637 h 96555"/>
                <a:gd name="connsiteX62" fmla="*/ 796785 w 966597"/>
                <a:gd name="connsiteY62" fmla="*/ 63475 h 96555"/>
                <a:gd name="connsiteX63" fmla="*/ 796785 w 966597"/>
                <a:gd name="connsiteY63" fmla="*/ 63256 h 96555"/>
                <a:gd name="connsiteX64" fmla="*/ 784031 w 966597"/>
                <a:gd name="connsiteY64" fmla="*/ 55255 h 96555"/>
                <a:gd name="connsiteX65" fmla="*/ 766190 w 966597"/>
                <a:gd name="connsiteY65" fmla="*/ 38500 h 96555"/>
                <a:gd name="connsiteX66" fmla="*/ 766190 w 966597"/>
                <a:gd name="connsiteY66" fmla="*/ 38281 h 96555"/>
                <a:gd name="connsiteX67" fmla="*/ 786517 w 966597"/>
                <a:gd name="connsiteY67" fmla="*/ 20879 h 96555"/>
                <a:gd name="connsiteX68" fmla="*/ 900989 w 966597"/>
                <a:gd name="connsiteY68" fmla="*/ 20764 h 96555"/>
                <a:gd name="connsiteX69" fmla="*/ 900989 w 966597"/>
                <a:gd name="connsiteY69" fmla="*/ 34604 h 96555"/>
                <a:gd name="connsiteX70" fmla="*/ 900237 w 966597"/>
                <a:gd name="connsiteY70" fmla="*/ 34604 h 96555"/>
                <a:gd name="connsiteX71" fmla="*/ 880767 w 966597"/>
                <a:gd name="connsiteY71" fmla="*/ 57197 h 96555"/>
                <a:gd name="connsiteX72" fmla="*/ 880767 w 966597"/>
                <a:gd name="connsiteY72" fmla="*/ 78933 h 96555"/>
                <a:gd name="connsiteX73" fmla="*/ 867680 w 966597"/>
                <a:gd name="connsiteY73" fmla="*/ 78933 h 96555"/>
                <a:gd name="connsiteX74" fmla="*/ 867680 w 966597"/>
                <a:gd name="connsiteY74" fmla="*/ 21840 h 96555"/>
                <a:gd name="connsiteX75" fmla="*/ 880767 w 966597"/>
                <a:gd name="connsiteY75" fmla="*/ 21840 h 96555"/>
                <a:gd name="connsiteX76" fmla="*/ 880767 w 966597"/>
                <a:gd name="connsiteY76" fmla="*/ 34718 h 96555"/>
                <a:gd name="connsiteX77" fmla="*/ 900989 w 966597"/>
                <a:gd name="connsiteY77" fmla="*/ 20764 h 96555"/>
                <a:gd name="connsiteX78" fmla="*/ 397154 w 966597"/>
                <a:gd name="connsiteY78" fmla="*/ 20764 h 96555"/>
                <a:gd name="connsiteX79" fmla="*/ 397154 w 966597"/>
                <a:gd name="connsiteY79" fmla="*/ 34604 h 96555"/>
                <a:gd name="connsiteX80" fmla="*/ 396401 w 966597"/>
                <a:gd name="connsiteY80" fmla="*/ 34604 h 96555"/>
                <a:gd name="connsiteX81" fmla="*/ 376932 w 966597"/>
                <a:gd name="connsiteY81" fmla="*/ 57197 h 96555"/>
                <a:gd name="connsiteX82" fmla="*/ 376932 w 966597"/>
                <a:gd name="connsiteY82" fmla="*/ 78933 h 96555"/>
                <a:gd name="connsiteX83" fmla="*/ 363845 w 966597"/>
                <a:gd name="connsiteY83" fmla="*/ 78933 h 96555"/>
                <a:gd name="connsiteX84" fmla="*/ 363845 w 966597"/>
                <a:gd name="connsiteY84" fmla="*/ 21840 h 96555"/>
                <a:gd name="connsiteX85" fmla="*/ 376932 w 966597"/>
                <a:gd name="connsiteY85" fmla="*/ 21840 h 96555"/>
                <a:gd name="connsiteX86" fmla="*/ 376932 w 966597"/>
                <a:gd name="connsiteY86" fmla="*/ 34718 h 96555"/>
                <a:gd name="connsiteX87" fmla="*/ 397154 w 966597"/>
                <a:gd name="connsiteY87" fmla="*/ 20764 h 96555"/>
                <a:gd name="connsiteX88" fmla="*/ 118815 w 966597"/>
                <a:gd name="connsiteY88" fmla="*/ 20764 h 96555"/>
                <a:gd name="connsiteX89" fmla="*/ 118815 w 966597"/>
                <a:gd name="connsiteY89" fmla="*/ 34604 h 96555"/>
                <a:gd name="connsiteX90" fmla="*/ 118062 w 966597"/>
                <a:gd name="connsiteY90" fmla="*/ 34604 h 96555"/>
                <a:gd name="connsiteX91" fmla="*/ 98603 w 966597"/>
                <a:gd name="connsiteY91" fmla="*/ 57197 h 96555"/>
                <a:gd name="connsiteX92" fmla="*/ 98603 w 966597"/>
                <a:gd name="connsiteY92" fmla="*/ 78933 h 96555"/>
                <a:gd name="connsiteX93" fmla="*/ 98593 w 966597"/>
                <a:gd name="connsiteY93" fmla="*/ 78933 h 96555"/>
                <a:gd name="connsiteX94" fmla="*/ 85506 w 966597"/>
                <a:gd name="connsiteY94" fmla="*/ 78933 h 96555"/>
                <a:gd name="connsiteX95" fmla="*/ 85506 w 966597"/>
                <a:gd name="connsiteY95" fmla="*/ 21840 h 96555"/>
                <a:gd name="connsiteX96" fmla="*/ 98593 w 966597"/>
                <a:gd name="connsiteY96" fmla="*/ 21840 h 96555"/>
                <a:gd name="connsiteX97" fmla="*/ 98593 w 966597"/>
                <a:gd name="connsiteY97" fmla="*/ 34718 h 96555"/>
                <a:gd name="connsiteX98" fmla="*/ 118815 w 966597"/>
                <a:gd name="connsiteY98" fmla="*/ 20764 h 96555"/>
                <a:gd name="connsiteX99" fmla="*/ 702316 w 966597"/>
                <a:gd name="connsiteY99" fmla="*/ 20650 h 96555"/>
                <a:gd name="connsiteX100" fmla="*/ 722319 w 966597"/>
                <a:gd name="connsiteY100" fmla="*/ 42491 h 96555"/>
                <a:gd name="connsiteX101" fmla="*/ 722319 w 966597"/>
                <a:gd name="connsiteY101" fmla="*/ 78933 h 96555"/>
                <a:gd name="connsiteX102" fmla="*/ 709232 w 966597"/>
                <a:gd name="connsiteY102" fmla="*/ 78933 h 96555"/>
                <a:gd name="connsiteX103" fmla="*/ 709232 w 966597"/>
                <a:gd name="connsiteY103" fmla="*/ 46491 h 96555"/>
                <a:gd name="connsiteX104" fmla="*/ 697659 w 966597"/>
                <a:gd name="connsiteY104" fmla="*/ 32537 h 96555"/>
                <a:gd name="connsiteX105" fmla="*/ 685438 w 966597"/>
                <a:gd name="connsiteY105" fmla="*/ 46710 h 96555"/>
                <a:gd name="connsiteX106" fmla="*/ 685438 w 966597"/>
                <a:gd name="connsiteY106" fmla="*/ 78933 h 96555"/>
                <a:gd name="connsiteX107" fmla="*/ 672351 w 966597"/>
                <a:gd name="connsiteY107" fmla="*/ 78933 h 96555"/>
                <a:gd name="connsiteX108" fmla="*/ 672351 w 966597"/>
                <a:gd name="connsiteY108" fmla="*/ 46387 h 96555"/>
                <a:gd name="connsiteX109" fmla="*/ 660778 w 966597"/>
                <a:gd name="connsiteY109" fmla="*/ 32547 h 96555"/>
                <a:gd name="connsiteX110" fmla="*/ 648557 w 966597"/>
                <a:gd name="connsiteY110" fmla="*/ 46825 h 96555"/>
                <a:gd name="connsiteX111" fmla="*/ 648557 w 966597"/>
                <a:gd name="connsiteY111" fmla="*/ 78943 h 96555"/>
                <a:gd name="connsiteX112" fmla="*/ 635470 w 966597"/>
                <a:gd name="connsiteY112" fmla="*/ 78943 h 96555"/>
                <a:gd name="connsiteX113" fmla="*/ 635470 w 966597"/>
                <a:gd name="connsiteY113" fmla="*/ 21850 h 96555"/>
                <a:gd name="connsiteX114" fmla="*/ 648557 w 966597"/>
                <a:gd name="connsiteY114" fmla="*/ 21850 h 96555"/>
                <a:gd name="connsiteX115" fmla="*/ 648557 w 966597"/>
                <a:gd name="connsiteY115" fmla="*/ 30499 h 96555"/>
                <a:gd name="connsiteX116" fmla="*/ 665969 w 966597"/>
                <a:gd name="connsiteY116" fmla="*/ 20660 h 96555"/>
                <a:gd name="connsiteX117" fmla="*/ 682943 w 966597"/>
                <a:gd name="connsiteY117" fmla="*/ 30718 h 96555"/>
                <a:gd name="connsiteX118" fmla="*/ 702316 w 966597"/>
                <a:gd name="connsiteY118" fmla="*/ 20650 h 96555"/>
                <a:gd name="connsiteX119" fmla="*/ 594436 w 966597"/>
                <a:gd name="connsiteY119" fmla="*/ 20650 h 96555"/>
                <a:gd name="connsiteX120" fmla="*/ 621801 w 966597"/>
                <a:gd name="connsiteY120" fmla="*/ 51473 h 96555"/>
                <a:gd name="connsiteX121" fmla="*/ 621582 w 966597"/>
                <a:gd name="connsiteY121" fmla="*/ 55035 h 96555"/>
                <a:gd name="connsiteX122" fmla="*/ 579624 w 966597"/>
                <a:gd name="connsiteY122" fmla="*/ 55035 h 96555"/>
                <a:gd name="connsiteX123" fmla="*/ 596045 w 966597"/>
                <a:gd name="connsiteY123" fmla="*/ 69523 h 96555"/>
                <a:gd name="connsiteX124" fmla="*/ 611514 w 966597"/>
                <a:gd name="connsiteY124" fmla="*/ 62712 h 96555"/>
                <a:gd name="connsiteX125" fmla="*/ 619191 w 966597"/>
                <a:gd name="connsiteY125" fmla="*/ 69523 h 96555"/>
                <a:gd name="connsiteX126" fmla="*/ 595836 w 966597"/>
                <a:gd name="connsiteY126" fmla="*/ 80229 h 96555"/>
                <a:gd name="connsiteX127" fmla="*/ 566537 w 966597"/>
                <a:gd name="connsiteY127" fmla="*/ 50492 h 96555"/>
                <a:gd name="connsiteX128" fmla="*/ 594436 w 966597"/>
                <a:gd name="connsiteY128" fmla="*/ 20650 h 96555"/>
                <a:gd name="connsiteX129" fmla="*/ 467410 w 966597"/>
                <a:gd name="connsiteY129" fmla="*/ 20650 h 96555"/>
                <a:gd name="connsiteX130" fmla="*/ 490223 w 966597"/>
                <a:gd name="connsiteY130" fmla="*/ 30489 h 96555"/>
                <a:gd name="connsiteX131" fmla="*/ 482117 w 966597"/>
                <a:gd name="connsiteY131" fmla="*/ 39252 h 96555"/>
                <a:gd name="connsiteX132" fmla="*/ 467296 w 966597"/>
                <a:gd name="connsiteY132" fmla="*/ 32109 h 96555"/>
                <a:gd name="connsiteX133" fmla="*/ 450856 w 966597"/>
                <a:gd name="connsiteY133" fmla="*/ 50378 h 96555"/>
                <a:gd name="connsiteX134" fmla="*/ 467944 w 966597"/>
                <a:gd name="connsiteY134" fmla="*/ 68866 h 96555"/>
                <a:gd name="connsiteX135" fmla="*/ 482765 w 966597"/>
                <a:gd name="connsiteY135" fmla="*/ 61722 h 96555"/>
                <a:gd name="connsiteX136" fmla="*/ 490661 w 966597"/>
                <a:gd name="connsiteY136" fmla="*/ 69504 h 96555"/>
                <a:gd name="connsiteX137" fmla="*/ 467306 w 966597"/>
                <a:gd name="connsiteY137" fmla="*/ 80229 h 96555"/>
                <a:gd name="connsiteX138" fmla="*/ 437778 w 966597"/>
                <a:gd name="connsiteY138" fmla="*/ 50606 h 96555"/>
                <a:gd name="connsiteX139" fmla="*/ 467410 w 966597"/>
                <a:gd name="connsiteY139" fmla="*/ 20650 h 96555"/>
                <a:gd name="connsiteX140" fmla="*/ 324402 w 966597"/>
                <a:gd name="connsiteY140" fmla="*/ 20650 h 96555"/>
                <a:gd name="connsiteX141" fmla="*/ 351767 w 966597"/>
                <a:gd name="connsiteY141" fmla="*/ 51473 h 96555"/>
                <a:gd name="connsiteX142" fmla="*/ 351548 w 966597"/>
                <a:gd name="connsiteY142" fmla="*/ 55035 h 96555"/>
                <a:gd name="connsiteX143" fmla="*/ 309590 w 966597"/>
                <a:gd name="connsiteY143" fmla="*/ 55035 h 96555"/>
                <a:gd name="connsiteX144" fmla="*/ 326021 w 966597"/>
                <a:gd name="connsiteY144" fmla="*/ 69523 h 96555"/>
                <a:gd name="connsiteX145" fmla="*/ 341490 w 966597"/>
                <a:gd name="connsiteY145" fmla="*/ 62712 h 96555"/>
                <a:gd name="connsiteX146" fmla="*/ 349167 w 966597"/>
                <a:gd name="connsiteY146" fmla="*/ 69523 h 96555"/>
                <a:gd name="connsiteX147" fmla="*/ 325811 w 966597"/>
                <a:gd name="connsiteY147" fmla="*/ 80229 h 96555"/>
                <a:gd name="connsiteX148" fmla="*/ 296503 w 966597"/>
                <a:gd name="connsiteY148" fmla="*/ 50492 h 96555"/>
                <a:gd name="connsiteX149" fmla="*/ 324402 w 966597"/>
                <a:gd name="connsiteY149" fmla="*/ 20650 h 96555"/>
                <a:gd name="connsiteX150" fmla="*/ 153505 w 966597"/>
                <a:gd name="connsiteY150" fmla="*/ 20650 h 96555"/>
                <a:gd name="connsiteX151" fmla="*/ 180861 w 966597"/>
                <a:gd name="connsiteY151" fmla="*/ 51473 h 96555"/>
                <a:gd name="connsiteX152" fmla="*/ 180641 w 966597"/>
                <a:gd name="connsiteY152" fmla="*/ 55035 h 96555"/>
                <a:gd name="connsiteX153" fmla="*/ 138684 w 966597"/>
                <a:gd name="connsiteY153" fmla="*/ 55035 h 96555"/>
                <a:gd name="connsiteX154" fmla="*/ 155124 w 966597"/>
                <a:gd name="connsiteY154" fmla="*/ 69523 h 96555"/>
                <a:gd name="connsiteX155" fmla="*/ 170593 w 966597"/>
                <a:gd name="connsiteY155" fmla="*/ 62712 h 96555"/>
                <a:gd name="connsiteX156" fmla="*/ 178270 w 966597"/>
                <a:gd name="connsiteY156" fmla="*/ 69523 h 96555"/>
                <a:gd name="connsiteX157" fmla="*/ 154914 w 966597"/>
                <a:gd name="connsiteY157" fmla="*/ 80229 h 96555"/>
                <a:gd name="connsiteX158" fmla="*/ 125606 w 966597"/>
                <a:gd name="connsiteY158" fmla="*/ 50492 h 96555"/>
                <a:gd name="connsiteX159" fmla="*/ 153505 w 966597"/>
                <a:gd name="connsiteY159" fmla="*/ 20650 h 96555"/>
                <a:gd name="connsiteX160" fmla="*/ 824760 w 966597"/>
                <a:gd name="connsiteY160" fmla="*/ 6163 h 96555"/>
                <a:gd name="connsiteX161" fmla="*/ 837847 w 966597"/>
                <a:gd name="connsiteY161" fmla="*/ 6163 h 96555"/>
                <a:gd name="connsiteX162" fmla="*/ 837847 w 966597"/>
                <a:gd name="connsiteY162" fmla="*/ 21841 h 96555"/>
                <a:gd name="connsiteX163" fmla="*/ 853201 w 966597"/>
                <a:gd name="connsiteY163" fmla="*/ 21841 h 96555"/>
                <a:gd name="connsiteX164" fmla="*/ 853201 w 966597"/>
                <a:gd name="connsiteY164" fmla="*/ 33090 h 96555"/>
                <a:gd name="connsiteX165" fmla="*/ 837847 w 966597"/>
                <a:gd name="connsiteY165" fmla="*/ 33090 h 96555"/>
                <a:gd name="connsiteX166" fmla="*/ 837847 w 966597"/>
                <a:gd name="connsiteY166" fmla="*/ 61094 h 96555"/>
                <a:gd name="connsiteX167" fmla="*/ 844876 w 966597"/>
                <a:gd name="connsiteY167" fmla="*/ 68237 h 96555"/>
                <a:gd name="connsiteX168" fmla="*/ 852982 w 966597"/>
                <a:gd name="connsiteY168" fmla="*/ 66285 h 96555"/>
                <a:gd name="connsiteX169" fmla="*/ 852982 w 966597"/>
                <a:gd name="connsiteY169" fmla="*/ 77000 h 96555"/>
                <a:gd name="connsiteX170" fmla="*/ 841190 w 966597"/>
                <a:gd name="connsiteY170" fmla="*/ 79915 h 96555"/>
                <a:gd name="connsiteX171" fmla="*/ 824760 w 966597"/>
                <a:gd name="connsiteY171" fmla="*/ 63161 h 96555"/>
                <a:gd name="connsiteX172" fmla="*/ 824760 w 966597"/>
                <a:gd name="connsiteY172" fmla="*/ 33100 h 96555"/>
                <a:gd name="connsiteX173" fmla="*/ 817511 w 966597"/>
                <a:gd name="connsiteY173" fmla="*/ 33100 h 96555"/>
                <a:gd name="connsiteX174" fmla="*/ 817511 w 966597"/>
                <a:gd name="connsiteY174" fmla="*/ 21851 h 96555"/>
                <a:gd name="connsiteX175" fmla="*/ 824760 w 966597"/>
                <a:gd name="connsiteY175" fmla="*/ 21851 h 96555"/>
                <a:gd name="connsiteX176" fmla="*/ 259652 w 966597"/>
                <a:gd name="connsiteY176" fmla="*/ 6163 h 96555"/>
                <a:gd name="connsiteX177" fmla="*/ 272739 w 966597"/>
                <a:gd name="connsiteY177" fmla="*/ 6163 h 96555"/>
                <a:gd name="connsiteX178" fmla="*/ 272739 w 966597"/>
                <a:gd name="connsiteY178" fmla="*/ 21841 h 96555"/>
                <a:gd name="connsiteX179" fmla="*/ 288093 w 966597"/>
                <a:gd name="connsiteY179" fmla="*/ 21841 h 96555"/>
                <a:gd name="connsiteX180" fmla="*/ 288093 w 966597"/>
                <a:gd name="connsiteY180" fmla="*/ 33090 h 96555"/>
                <a:gd name="connsiteX181" fmla="*/ 272739 w 966597"/>
                <a:gd name="connsiteY181" fmla="*/ 33090 h 96555"/>
                <a:gd name="connsiteX182" fmla="*/ 272739 w 966597"/>
                <a:gd name="connsiteY182" fmla="*/ 61094 h 96555"/>
                <a:gd name="connsiteX183" fmla="*/ 272729 w 966597"/>
                <a:gd name="connsiteY183" fmla="*/ 61094 h 96555"/>
                <a:gd name="connsiteX184" fmla="*/ 279759 w 966597"/>
                <a:gd name="connsiteY184" fmla="*/ 68237 h 96555"/>
                <a:gd name="connsiteX185" fmla="*/ 287865 w 966597"/>
                <a:gd name="connsiteY185" fmla="*/ 66285 h 96555"/>
                <a:gd name="connsiteX186" fmla="*/ 287865 w 966597"/>
                <a:gd name="connsiteY186" fmla="*/ 77000 h 96555"/>
                <a:gd name="connsiteX187" fmla="*/ 276082 w 966597"/>
                <a:gd name="connsiteY187" fmla="*/ 79915 h 96555"/>
                <a:gd name="connsiteX188" fmla="*/ 259652 w 966597"/>
                <a:gd name="connsiteY188" fmla="*/ 63161 h 96555"/>
                <a:gd name="connsiteX189" fmla="*/ 259652 w 966597"/>
                <a:gd name="connsiteY189" fmla="*/ 33100 h 96555"/>
                <a:gd name="connsiteX190" fmla="*/ 252403 w 966597"/>
                <a:gd name="connsiteY190" fmla="*/ 33100 h 96555"/>
                <a:gd name="connsiteX191" fmla="*/ 252403 w 966597"/>
                <a:gd name="connsiteY191" fmla="*/ 21851 h 96555"/>
                <a:gd name="connsiteX192" fmla="*/ 259652 w 966597"/>
                <a:gd name="connsiteY192" fmla="*/ 21851 h 96555"/>
                <a:gd name="connsiteX193" fmla="*/ 39043 w 966597"/>
                <a:gd name="connsiteY193" fmla="*/ 1943 h 96555"/>
                <a:gd name="connsiteX194" fmla="*/ 68132 w 966597"/>
                <a:gd name="connsiteY194" fmla="*/ 12220 h 96555"/>
                <a:gd name="connsiteX195" fmla="*/ 59703 w 966597"/>
                <a:gd name="connsiteY195" fmla="*/ 22279 h 96555"/>
                <a:gd name="connsiteX196" fmla="*/ 38510 w 966597"/>
                <a:gd name="connsiteY196" fmla="*/ 14164 h 96555"/>
                <a:gd name="connsiteX197" fmla="*/ 13964 w 966597"/>
                <a:gd name="connsiteY197" fmla="*/ 40976 h 96555"/>
                <a:gd name="connsiteX198" fmla="*/ 39700 w 966597"/>
                <a:gd name="connsiteY198" fmla="*/ 68123 h 96555"/>
                <a:gd name="connsiteX199" fmla="*/ 57979 w 966597"/>
                <a:gd name="connsiteY199" fmla="*/ 62398 h 96555"/>
                <a:gd name="connsiteX200" fmla="*/ 57979 w 966597"/>
                <a:gd name="connsiteY200" fmla="*/ 48225 h 96555"/>
                <a:gd name="connsiteX201" fmla="*/ 38624 w 966597"/>
                <a:gd name="connsiteY201" fmla="*/ 48225 h 96555"/>
                <a:gd name="connsiteX202" fmla="*/ 38624 w 966597"/>
                <a:gd name="connsiteY202" fmla="*/ 36652 h 96555"/>
                <a:gd name="connsiteX203" fmla="*/ 70847 w 966597"/>
                <a:gd name="connsiteY203" fmla="*/ 36652 h 96555"/>
                <a:gd name="connsiteX204" fmla="*/ 70847 w 966597"/>
                <a:gd name="connsiteY204" fmla="*/ 68447 h 96555"/>
                <a:gd name="connsiteX205" fmla="*/ 39253 w 966597"/>
                <a:gd name="connsiteY205" fmla="*/ 80229 h 96555"/>
                <a:gd name="connsiteX206" fmla="*/ 0 w 966597"/>
                <a:gd name="connsiteY206" fmla="*/ 41196 h 96555"/>
                <a:gd name="connsiteX207" fmla="*/ 39043 w 966597"/>
                <a:gd name="connsiteY207" fmla="*/ 1943 h 96555"/>
                <a:gd name="connsiteX208" fmla="*/ 737854 w 966597"/>
                <a:gd name="connsiteY208" fmla="*/ 648 h 96555"/>
                <a:gd name="connsiteX209" fmla="*/ 751913 w 966597"/>
                <a:gd name="connsiteY209" fmla="*/ 648 h 96555"/>
                <a:gd name="connsiteX210" fmla="*/ 751913 w 966597"/>
                <a:gd name="connsiteY210" fmla="*/ 13088 h 96555"/>
                <a:gd name="connsiteX211" fmla="*/ 737854 w 966597"/>
                <a:gd name="connsiteY211" fmla="*/ 13088 h 96555"/>
                <a:gd name="connsiteX212" fmla="*/ 502101 w 966597"/>
                <a:gd name="connsiteY212" fmla="*/ 0 h 96555"/>
                <a:gd name="connsiteX213" fmla="*/ 515188 w 966597"/>
                <a:gd name="connsiteY213" fmla="*/ 0 h 96555"/>
                <a:gd name="connsiteX214" fmla="*/ 515188 w 966597"/>
                <a:gd name="connsiteY214" fmla="*/ 30709 h 96555"/>
                <a:gd name="connsiteX215" fmla="*/ 533029 w 966597"/>
                <a:gd name="connsiteY215" fmla="*/ 20650 h 96555"/>
                <a:gd name="connsiteX216" fmla="*/ 553365 w 966597"/>
                <a:gd name="connsiteY216" fmla="*/ 42596 h 96555"/>
                <a:gd name="connsiteX217" fmla="*/ 553365 w 966597"/>
                <a:gd name="connsiteY217" fmla="*/ 78934 h 96555"/>
                <a:gd name="connsiteX218" fmla="*/ 540277 w 966597"/>
                <a:gd name="connsiteY218" fmla="*/ 78934 h 96555"/>
                <a:gd name="connsiteX219" fmla="*/ 540277 w 966597"/>
                <a:gd name="connsiteY219" fmla="*/ 46492 h 96555"/>
                <a:gd name="connsiteX220" fmla="*/ 528057 w 966597"/>
                <a:gd name="connsiteY220" fmla="*/ 32537 h 96555"/>
                <a:gd name="connsiteX221" fmla="*/ 515179 w 966597"/>
                <a:gd name="connsiteY221" fmla="*/ 46711 h 96555"/>
                <a:gd name="connsiteX222" fmla="*/ 515179 w 966597"/>
                <a:gd name="connsiteY222" fmla="*/ 78934 h 96555"/>
                <a:gd name="connsiteX223" fmla="*/ 502101 w 966597"/>
                <a:gd name="connsiteY223" fmla="*/ 78934 h 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66597" h="96555">
                  <a:moveTo>
                    <a:pt x="216732" y="52435"/>
                  </a:moveTo>
                  <a:cubicBezTo>
                    <a:pt x="208512" y="52435"/>
                    <a:pt x="203645" y="55788"/>
                    <a:pt x="203645" y="61627"/>
                  </a:cubicBezTo>
                  <a:lnTo>
                    <a:pt x="203645" y="61846"/>
                  </a:lnTo>
                  <a:cubicBezTo>
                    <a:pt x="203645" y="67256"/>
                    <a:pt x="208512" y="70275"/>
                    <a:pt x="214674" y="70275"/>
                  </a:cubicBezTo>
                  <a:cubicBezTo>
                    <a:pt x="223323" y="70275"/>
                    <a:pt x="229819" y="65418"/>
                    <a:pt x="229819" y="58274"/>
                  </a:cubicBezTo>
                  <a:lnTo>
                    <a:pt x="229819" y="54712"/>
                  </a:lnTo>
                  <a:cubicBezTo>
                    <a:pt x="226466" y="53407"/>
                    <a:pt x="221818" y="52435"/>
                    <a:pt x="216732" y="52435"/>
                  </a:cubicBezTo>
                  <a:close/>
                  <a:moveTo>
                    <a:pt x="594312" y="31356"/>
                  </a:moveTo>
                  <a:cubicBezTo>
                    <a:pt x="586311" y="31356"/>
                    <a:pt x="580691" y="37519"/>
                    <a:pt x="579501" y="46387"/>
                  </a:cubicBezTo>
                  <a:lnTo>
                    <a:pt x="608799" y="46387"/>
                  </a:lnTo>
                  <a:cubicBezTo>
                    <a:pt x="607942" y="37957"/>
                    <a:pt x="602961" y="31356"/>
                    <a:pt x="594312" y="31356"/>
                  </a:cubicBezTo>
                  <a:close/>
                  <a:moveTo>
                    <a:pt x="324287" y="31356"/>
                  </a:moveTo>
                  <a:cubicBezTo>
                    <a:pt x="316286" y="31356"/>
                    <a:pt x="310667" y="37519"/>
                    <a:pt x="309476" y="46387"/>
                  </a:cubicBezTo>
                  <a:lnTo>
                    <a:pt x="338775" y="46387"/>
                  </a:lnTo>
                  <a:cubicBezTo>
                    <a:pt x="337918" y="37957"/>
                    <a:pt x="332936" y="31356"/>
                    <a:pt x="324287" y="31356"/>
                  </a:cubicBezTo>
                  <a:close/>
                  <a:moveTo>
                    <a:pt x="153400" y="31356"/>
                  </a:moveTo>
                  <a:cubicBezTo>
                    <a:pt x="145399" y="31356"/>
                    <a:pt x="139770" y="37519"/>
                    <a:pt x="138579" y="46387"/>
                  </a:cubicBezTo>
                  <a:lnTo>
                    <a:pt x="167888" y="46387"/>
                  </a:lnTo>
                  <a:cubicBezTo>
                    <a:pt x="167021" y="37957"/>
                    <a:pt x="162049" y="31356"/>
                    <a:pt x="153400" y="31356"/>
                  </a:cubicBezTo>
                  <a:close/>
                  <a:moveTo>
                    <a:pt x="907980" y="21841"/>
                  </a:moveTo>
                  <a:lnTo>
                    <a:pt x="921934" y="21841"/>
                  </a:lnTo>
                  <a:lnTo>
                    <a:pt x="938155" y="64227"/>
                  </a:lnTo>
                  <a:lnTo>
                    <a:pt x="952976" y="21841"/>
                  </a:lnTo>
                  <a:lnTo>
                    <a:pt x="966597" y="21841"/>
                  </a:lnTo>
                  <a:lnTo>
                    <a:pt x="943899" y="80553"/>
                  </a:lnTo>
                  <a:cubicBezTo>
                    <a:pt x="939355" y="92231"/>
                    <a:pt x="934269" y="96555"/>
                    <a:pt x="925077" y="96555"/>
                  </a:cubicBezTo>
                  <a:cubicBezTo>
                    <a:pt x="919562" y="96555"/>
                    <a:pt x="915562" y="95260"/>
                    <a:pt x="911561" y="93098"/>
                  </a:cubicBezTo>
                  <a:lnTo>
                    <a:pt x="915991" y="83363"/>
                  </a:lnTo>
                  <a:cubicBezTo>
                    <a:pt x="918372" y="84668"/>
                    <a:pt x="920963" y="85525"/>
                    <a:pt x="923668" y="85525"/>
                  </a:cubicBezTo>
                  <a:cubicBezTo>
                    <a:pt x="927344" y="85525"/>
                    <a:pt x="929611" y="83906"/>
                    <a:pt x="931773" y="78934"/>
                  </a:cubicBezTo>
                  <a:close/>
                  <a:moveTo>
                    <a:pt x="738397" y="21841"/>
                  </a:moveTo>
                  <a:lnTo>
                    <a:pt x="751484" y="21841"/>
                  </a:lnTo>
                  <a:lnTo>
                    <a:pt x="751484" y="78934"/>
                  </a:lnTo>
                  <a:lnTo>
                    <a:pt x="738397" y="78934"/>
                  </a:lnTo>
                  <a:close/>
                  <a:moveTo>
                    <a:pt x="217389" y="20974"/>
                  </a:moveTo>
                  <a:cubicBezTo>
                    <a:pt x="234258" y="20974"/>
                    <a:pt x="242478" y="29842"/>
                    <a:pt x="242478" y="45091"/>
                  </a:cubicBezTo>
                  <a:lnTo>
                    <a:pt x="242478" y="78934"/>
                  </a:lnTo>
                  <a:lnTo>
                    <a:pt x="229495" y="78934"/>
                  </a:lnTo>
                  <a:lnTo>
                    <a:pt x="229495" y="71904"/>
                  </a:lnTo>
                  <a:cubicBezTo>
                    <a:pt x="225600" y="76552"/>
                    <a:pt x="219656" y="80124"/>
                    <a:pt x="211007" y="80124"/>
                  </a:cubicBezTo>
                  <a:cubicBezTo>
                    <a:pt x="200196" y="80124"/>
                    <a:pt x="190681" y="73962"/>
                    <a:pt x="190681" y="62503"/>
                  </a:cubicBezTo>
                  <a:lnTo>
                    <a:pt x="190681" y="62293"/>
                  </a:lnTo>
                  <a:cubicBezTo>
                    <a:pt x="190681" y="49968"/>
                    <a:pt x="200520" y="43910"/>
                    <a:pt x="213827" y="43910"/>
                  </a:cubicBezTo>
                  <a:cubicBezTo>
                    <a:pt x="220751" y="43910"/>
                    <a:pt x="225181" y="44882"/>
                    <a:pt x="229610" y="46282"/>
                  </a:cubicBezTo>
                  <a:lnTo>
                    <a:pt x="229610" y="44882"/>
                  </a:lnTo>
                  <a:cubicBezTo>
                    <a:pt x="229610" y="36995"/>
                    <a:pt x="224638" y="32661"/>
                    <a:pt x="215551" y="32661"/>
                  </a:cubicBezTo>
                  <a:cubicBezTo>
                    <a:pt x="209169" y="32661"/>
                    <a:pt x="204416" y="34061"/>
                    <a:pt x="199225" y="36233"/>
                  </a:cubicBezTo>
                  <a:lnTo>
                    <a:pt x="195653" y="25737"/>
                  </a:lnTo>
                  <a:cubicBezTo>
                    <a:pt x="201921" y="22927"/>
                    <a:pt x="208083" y="20974"/>
                    <a:pt x="217389" y="20974"/>
                  </a:cubicBezTo>
                  <a:close/>
                  <a:moveTo>
                    <a:pt x="786517" y="20879"/>
                  </a:moveTo>
                  <a:cubicBezTo>
                    <a:pt x="793661" y="20879"/>
                    <a:pt x="801442" y="23356"/>
                    <a:pt x="807500" y="27366"/>
                  </a:cubicBezTo>
                  <a:lnTo>
                    <a:pt x="802309" y="36662"/>
                  </a:lnTo>
                  <a:cubicBezTo>
                    <a:pt x="796794" y="33309"/>
                    <a:pt x="790946" y="31252"/>
                    <a:pt x="786202" y="31252"/>
                  </a:cubicBezTo>
                  <a:cubicBezTo>
                    <a:pt x="781116" y="31252"/>
                    <a:pt x="778201" y="33633"/>
                    <a:pt x="778201" y="36986"/>
                  </a:cubicBezTo>
                  <a:lnTo>
                    <a:pt x="778201" y="37195"/>
                  </a:lnTo>
                  <a:cubicBezTo>
                    <a:pt x="778201" y="41310"/>
                    <a:pt x="784364" y="43044"/>
                    <a:pt x="791070" y="45196"/>
                  </a:cubicBezTo>
                  <a:cubicBezTo>
                    <a:pt x="799404" y="47787"/>
                    <a:pt x="808805" y="51578"/>
                    <a:pt x="808805" y="61846"/>
                  </a:cubicBezTo>
                  <a:lnTo>
                    <a:pt x="808805" y="62065"/>
                  </a:lnTo>
                  <a:cubicBezTo>
                    <a:pt x="808777" y="74067"/>
                    <a:pt x="799480" y="80020"/>
                    <a:pt x="787593" y="80020"/>
                  </a:cubicBezTo>
                  <a:cubicBezTo>
                    <a:pt x="779478" y="80020"/>
                    <a:pt x="770505" y="77096"/>
                    <a:pt x="763371" y="71476"/>
                  </a:cubicBezTo>
                  <a:lnTo>
                    <a:pt x="769219" y="62608"/>
                  </a:lnTo>
                  <a:cubicBezTo>
                    <a:pt x="775382" y="67256"/>
                    <a:pt x="782088" y="69637"/>
                    <a:pt x="787917" y="69637"/>
                  </a:cubicBezTo>
                  <a:cubicBezTo>
                    <a:pt x="793546" y="69637"/>
                    <a:pt x="796785" y="67256"/>
                    <a:pt x="796785" y="63475"/>
                  </a:cubicBezTo>
                  <a:lnTo>
                    <a:pt x="796785" y="63256"/>
                  </a:lnTo>
                  <a:cubicBezTo>
                    <a:pt x="796785" y="58827"/>
                    <a:pt x="790727" y="57312"/>
                    <a:pt x="784031" y="55255"/>
                  </a:cubicBezTo>
                  <a:cubicBezTo>
                    <a:pt x="775592" y="52873"/>
                    <a:pt x="766190" y="49406"/>
                    <a:pt x="766190" y="38500"/>
                  </a:cubicBezTo>
                  <a:lnTo>
                    <a:pt x="766190" y="38281"/>
                  </a:lnTo>
                  <a:cubicBezTo>
                    <a:pt x="766190" y="27470"/>
                    <a:pt x="775163" y="20879"/>
                    <a:pt x="786517" y="20879"/>
                  </a:cubicBezTo>
                  <a:close/>
                  <a:moveTo>
                    <a:pt x="900989" y="20764"/>
                  </a:moveTo>
                  <a:lnTo>
                    <a:pt x="900989" y="34604"/>
                  </a:lnTo>
                  <a:lnTo>
                    <a:pt x="900237" y="34604"/>
                  </a:lnTo>
                  <a:cubicBezTo>
                    <a:pt x="888778" y="34604"/>
                    <a:pt x="880767" y="42062"/>
                    <a:pt x="880767" y="57197"/>
                  </a:cubicBezTo>
                  <a:lnTo>
                    <a:pt x="880767" y="78933"/>
                  </a:lnTo>
                  <a:lnTo>
                    <a:pt x="867680" y="78933"/>
                  </a:lnTo>
                  <a:lnTo>
                    <a:pt x="867680" y="21840"/>
                  </a:lnTo>
                  <a:lnTo>
                    <a:pt x="880767" y="21840"/>
                  </a:lnTo>
                  <a:lnTo>
                    <a:pt x="880767" y="34718"/>
                  </a:lnTo>
                  <a:cubicBezTo>
                    <a:pt x="884339" y="26174"/>
                    <a:pt x="890931" y="20336"/>
                    <a:pt x="900989" y="20764"/>
                  </a:cubicBezTo>
                  <a:close/>
                  <a:moveTo>
                    <a:pt x="397154" y="20764"/>
                  </a:moveTo>
                  <a:lnTo>
                    <a:pt x="397154" y="34604"/>
                  </a:lnTo>
                  <a:lnTo>
                    <a:pt x="396401" y="34604"/>
                  </a:lnTo>
                  <a:cubicBezTo>
                    <a:pt x="384943" y="34604"/>
                    <a:pt x="376932" y="42062"/>
                    <a:pt x="376932" y="57197"/>
                  </a:cubicBezTo>
                  <a:lnTo>
                    <a:pt x="376932" y="78933"/>
                  </a:lnTo>
                  <a:lnTo>
                    <a:pt x="363845" y="78933"/>
                  </a:lnTo>
                  <a:lnTo>
                    <a:pt x="363845" y="21840"/>
                  </a:lnTo>
                  <a:lnTo>
                    <a:pt x="376932" y="21840"/>
                  </a:lnTo>
                  <a:lnTo>
                    <a:pt x="376932" y="34718"/>
                  </a:lnTo>
                  <a:cubicBezTo>
                    <a:pt x="380504" y="26174"/>
                    <a:pt x="387095" y="20336"/>
                    <a:pt x="397154" y="20764"/>
                  </a:cubicBezTo>
                  <a:close/>
                  <a:moveTo>
                    <a:pt x="118815" y="20764"/>
                  </a:moveTo>
                  <a:lnTo>
                    <a:pt x="118815" y="34604"/>
                  </a:lnTo>
                  <a:lnTo>
                    <a:pt x="118062" y="34604"/>
                  </a:lnTo>
                  <a:cubicBezTo>
                    <a:pt x="106604" y="34604"/>
                    <a:pt x="98603" y="42062"/>
                    <a:pt x="98603" y="57197"/>
                  </a:cubicBezTo>
                  <a:lnTo>
                    <a:pt x="98603" y="78933"/>
                  </a:lnTo>
                  <a:lnTo>
                    <a:pt x="98593" y="78933"/>
                  </a:lnTo>
                  <a:lnTo>
                    <a:pt x="85506" y="78933"/>
                  </a:lnTo>
                  <a:lnTo>
                    <a:pt x="85506" y="21840"/>
                  </a:lnTo>
                  <a:lnTo>
                    <a:pt x="98593" y="21840"/>
                  </a:lnTo>
                  <a:lnTo>
                    <a:pt x="98593" y="34718"/>
                  </a:lnTo>
                  <a:cubicBezTo>
                    <a:pt x="102156" y="26174"/>
                    <a:pt x="108757" y="20336"/>
                    <a:pt x="118815" y="20764"/>
                  </a:cubicBezTo>
                  <a:close/>
                  <a:moveTo>
                    <a:pt x="702316" y="20650"/>
                  </a:moveTo>
                  <a:cubicBezTo>
                    <a:pt x="714756" y="20650"/>
                    <a:pt x="722319" y="28546"/>
                    <a:pt x="722319" y="42491"/>
                  </a:cubicBezTo>
                  <a:lnTo>
                    <a:pt x="722319" y="78933"/>
                  </a:lnTo>
                  <a:lnTo>
                    <a:pt x="709232" y="78933"/>
                  </a:lnTo>
                  <a:lnTo>
                    <a:pt x="709232" y="46491"/>
                  </a:lnTo>
                  <a:cubicBezTo>
                    <a:pt x="709232" y="37414"/>
                    <a:pt x="705021" y="32537"/>
                    <a:pt x="697659" y="32537"/>
                  </a:cubicBezTo>
                  <a:cubicBezTo>
                    <a:pt x="690524" y="32537"/>
                    <a:pt x="685438" y="37519"/>
                    <a:pt x="685438" y="46710"/>
                  </a:cubicBezTo>
                  <a:lnTo>
                    <a:pt x="685438" y="78933"/>
                  </a:lnTo>
                  <a:lnTo>
                    <a:pt x="672351" y="78933"/>
                  </a:lnTo>
                  <a:lnTo>
                    <a:pt x="672351" y="46387"/>
                  </a:lnTo>
                  <a:cubicBezTo>
                    <a:pt x="672351" y="37519"/>
                    <a:pt x="668026" y="32547"/>
                    <a:pt x="660778" y="32547"/>
                  </a:cubicBezTo>
                  <a:cubicBezTo>
                    <a:pt x="653539" y="32547"/>
                    <a:pt x="648557" y="37957"/>
                    <a:pt x="648557" y="46825"/>
                  </a:cubicBezTo>
                  <a:lnTo>
                    <a:pt x="648557" y="78943"/>
                  </a:lnTo>
                  <a:lnTo>
                    <a:pt x="635470" y="78943"/>
                  </a:lnTo>
                  <a:lnTo>
                    <a:pt x="635470" y="21850"/>
                  </a:lnTo>
                  <a:lnTo>
                    <a:pt x="648557" y="21850"/>
                  </a:lnTo>
                  <a:lnTo>
                    <a:pt x="648557" y="30499"/>
                  </a:lnTo>
                  <a:cubicBezTo>
                    <a:pt x="652244" y="25422"/>
                    <a:pt x="657206" y="20660"/>
                    <a:pt x="665969" y="20660"/>
                  </a:cubicBezTo>
                  <a:cubicBezTo>
                    <a:pt x="674189" y="20660"/>
                    <a:pt x="679923" y="24660"/>
                    <a:pt x="682943" y="30718"/>
                  </a:cubicBezTo>
                  <a:cubicBezTo>
                    <a:pt x="687610" y="24651"/>
                    <a:pt x="693668" y="20650"/>
                    <a:pt x="702316" y="20650"/>
                  </a:cubicBezTo>
                  <a:close/>
                  <a:moveTo>
                    <a:pt x="594436" y="20650"/>
                  </a:moveTo>
                  <a:cubicBezTo>
                    <a:pt x="612600" y="20650"/>
                    <a:pt x="621801" y="34918"/>
                    <a:pt x="621801" y="51473"/>
                  </a:cubicBezTo>
                  <a:cubicBezTo>
                    <a:pt x="621801" y="52664"/>
                    <a:pt x="621696" y="53740"/>
                    <a:pt x="621582" y="55035"/>
                  </a:cubicBezTo>
                  <a:lnTo>
                    <a:pt x="579624" y="55035"/>
                  </a:lnTo>
                  <a:cubicBezTo>
                    <a:pt x="581120" y="64332"/>
                    <a:pt x="587606" y="69523"/>
                    <a:pt x="596045" y="69523"/>
                  </a:cubicBezTo>
                  <a:cubicBezTo>
                    <a:pt x="602427" y="69523"/>
                    <a:pt x="606971" y="67142"/>
                    <a:pt x="611514" y="62712"/>
                  </a:cubicBezTo>
                  <a:lnTo>
                    <a:pt x="619191" y="69523"/>
                  </a:lnTo>
                  <a:cubicBezTo>
                    <a:pt x="613781" y="76019"/>
                    <a:pt x="606323" y="80229"/>
                    <a:pt x="595836" y="80229"/>
                  </a:cubicBezTo>
                  <a:cubicBezTo>
                    <a:pt x="579291" y="80229"/>
                    <a:pt x="566537" y="68227"/>
                    <a:pt x="566537" y="50492"/>
                  </a:cubicBezTo>
                  <a:cubicBezTo>
                    <a:pt x="566537" y="34052"/>
                    <a:pt x="578100" y="20650"/>
                    <a:pt x="594436" y="20650"/>
                  </a:cubicBezTo>
                  <a:close/>
                  <a:moveTo>
                    <a:pt x="467410" y="20650"/>
                  </a:moveTo>
                  <a:cubicBezTo>
                    <a:pt x="478221" y="20650"/>
                    <a:pt x="484927" y="24651"/>
                    <a:pt x="490223" y="30489"/>
                  </a:cubicBezTo>
                  <a:lnTo>
                    <a:pt x="482117" y="39252"/>
                  </a:lnTo>
                  <a:cubicBezTo>
                    <a:pt x="478116" y="35033"/>
                    <a:pt x="473897" y="32109"/>
                    <a:pt x="467296" y="32109"/>
                  </a:cubicBezTo>
                  <a:cubicBezTo>
                    <a:pt x="457781" y="32109"/>
                    <a:pt x="450856" y="40329"/>
                    <a:pt x="450856" y="50378"/>
                  </a:cubicBezTo>
                  <a:cubicBezTo>
                    <a:pt x="450856" y="60655"/>
                    <a:pt x="457885" y="68866"/>
                    <a:pt x="467944" y="68866"/>
                  </a:cubicBezTo>
                  <a:cubicBezTo>
                    <a:pt x="474106" y="68866"/>
                    <a:pt x="478650" y="65951"/>
                    <a:pt x="482765" y="61722"/>
                  </a:cubicBezTo>
                  <a:lnTo>
                    <a:pt x="490661" y="69504"/>
                  </a:lnTo>
                  <a:cubicBezTo>
                    <a:pt x="485041" y="75800"/>
                    <a:pt x="478450" y="80229"/>
                    <a:pt x="467306" y="80229"/>
                  </a:cubicBezTo>
                  <a:cubicBezTo>
                    <a:pt x="450332" y="80229"/>
                    <a:pt x="437778" y="66932"/>
                    <a:pt x="437778" y="50606"/>
                  </a:cubicBezTo>
                  <a:cubicBezTo>
                    <a:pt x="437778" y="34280"/>
                    <a:pt x="450322" y="20650"/>
                    <a:pt x="467410" y="20650"/>
                  </a:cubicBezTo>
                  <a:close/>
                  <a:moveTo>
                    <a:pt x="324402" y="20650"/>
                  </a:moveTo>
                  <a:cubicBezTo>
                    <a:pt x="342566" y="20650"/>
                    <a:pt x="351767" y="34918"/>
                    <a:pt x="351767" y="51473"/>
                  </a:cubicBezTo>
                  <a:cubicBezTo>
                    <a:pt x="351767" y="52664"/>
                    <a:pt x="351662" y="53740"/>
                    <a:pt x="351548" y="55035"/>
                  </a:cubicBezTo>
                  <a:lnTo>
                    <a:pt x="309590" y="55035"/>
                  </a:lnTo>
                  <a:cubicBezTo>
                    <a:pt x="311105" y="64332"/>
                    <a:pt x="317591" y="69523"/>
                    <a:pt x="326021" y="69523"/>
                  </a:cubicBezTo>
                  <a:cubicBezTo>
                    <a:pt x="332403" y="69523"/>
                    <a:pt x="336946" y="67142"/>
                    <a:pt x="341490" y="62712"/>
                  </a:cubicBezTo>
                  <a:lnTo>
                    <a:pt x="349167" y="69523"/>
                  </a:lnTo>
                  <a:cubicBezTo>
                    <a:pt x="343757" y="76019"/>
                    <a:pt x="336298" y="80229"/>
                    <a:pt x="325811" y="80229"/>
                  </a:cubicBezTo>
                  <a:cubicBezTo>
                    <a:pt x="309267" y="80229"/>
                    <a:pt x="296503" y="68227"/>
                    <a:pt x="296503" y="50492"/>
                  </a:cubicBezTo>
                  <a:cubicBezTo>
                    <a:pt x="296503" y="34052"/>
                    <a:pt x="308076" y="20650"/>
                    <a:pt x="324402" y="20650"/>
                  </a:cubicBezTo>
                  <a:close/>
                  <a:moveTo>
                    <a:pt x="153505" y="20650"/>
                  </a:moveTo>
                  <a:cubicBezTo>
                    <a:pt x="171669" y="20650"/>
                    <a:pt x="180861" y="34918"/>
                    <a:pt x="180861" y="51473"/>
                  </a:cubicBezTo>
                  <a:cubicBezTo>
                    <a:pt x="180861" y="52664"/>
                    <a:pt x="180756" y="53740"/>
                    <a:pt x="180641" y="55035"/>
                  </a:cubicBezTo>
                  <a:lnTo>
                    <a:pt x="138684" y="55035"/>
                  </a:lnTo>
                  <a:cubicBezTo>
                    <a:pt x="140208" y="64332"/>
                    <a:pt x="146694" y="69523"/>
                    <a:pt x="155124" y="69523"/>
                  </a:cubicBezTo>
                  <a:cubicBezTo>
                    <a:pt x="161506" y="69523"/>
                    <a:pt x="166049" y="67142"/>
                    <a:pt x="170593" y="62712"/>
                  </a:cubicBezTo>
                  <a:lnTo>
                    <a:pt x="178270" y="69523"/>
                  </a:lnTo>
                  <a:cubicBezTo>
                    <a:pt x="172860" y="76019"/>
                    <a:pt x="165401" y="80229"/>
                    <a:pt x="154914" y="80229"/>
                  </a:cubicBezTo>
                  <a:cubicBezTo>
                    <a:pt x="138370" y="80229"/>
                    <a:pt x="125606" y="68227"/>
                    <a:pt x="125606" y="50492"/>
                  </a:cubicBezTo>
                  <a:cubicBezTo>
                    <a:pt x="125606" y="34052"/>
                    <a:pt x="137179" y="20650"/>
                    <a:pt x="153505" y="20650"/>
                  </a:cubicBezTo>
                  <a:close/>
                  <a:moveTo>
                    <a:pt x="824760" y="6163"/>
                  </a:moveTo>
                  <a:lnTo>
                    <a:pt x="837847" y="6163"/>
                  </a:lnTo>
                  <a:lnTo>
                    <a:pt x="837847" y="21841"/>
                  </a:lnTo>
                  <a:lnTo>
                    <a:pt x="853201" y="21841"/>
                  </a:lnTo>
                  <a:lnTo>
                    <a:pt x="853201" y="33090"/>
                  </a:lnTo>
                  <a:lnTo>
                    <a:pt x="837847" y="33090"/>
                  </a:lnTo>
                  <a:lnTo>
                    <a:pt x="837847" y="61094"/>
                  </a:lnTo>
                  <a:cubicBezTo>
                    <a:pt x="837847" y="66180"/>
                    <a:pt x="840438" y="68237"/>
                    <a:pt x="844876" y="68237"/>
                  </a:cubicBezTo>
                  <a:cubicBezTo>
                    <a:pt x="847791" y="68237"/>
                    <a:pt x="850382" y="67590"/>
                    <a:pt x="852982" y="66285"/>
                  </a:cubicBezTo>
                  <a:lnTo>
                    <a:pt x="852982" y="77000"/>
                  </a:lnTo>
                  <a:cubicBezTo>
                    <a:pt x="849734" y="78829"/>
                    <a:pt x="846057" y="79915"/>
                    <a:pt x="841190" y="79915"/>
                  </a:cubicBezTo>
                  <a:cubicBezTo>
                    <a:pt x="831570" y="79915"/>
                    <a:pt x="824760" y="75696"/>
                    <a:pt x="824760" y="63161"/>
                  </a:cubicBezTo>
                  <a:lnTo>
                    <a:pt x="824760" y="33100"/>
                  </a:lnTo>
                  <a:lnTo>
                    <a:pt x="817511" y="33100"/>
                  </a:lnTo>
                  <a:lnTo>
                    <a:pt x="817511" y="21851"/>
                  </a:lnTo>
                  <a:lnTo>
                    <a:pt x="824760" y="21851"/>
                  </a:lnTo>
                  <a:close/>
                  <a:moveTo>
                    <a:pt x="259652" y="6163"/>
                  </a:moveTo>
                  <a:lnTo>
                    <a:pt x="272739" y="6163"/>
                  </a:lnTo>
                  <a:lnTo>
                    <a:pt x="272739" y="21841"/>
                  </a:lnTo>
                  <a:lnTo>
                    <a:pt x="288093" y="21841"/>
                  </a:lnTo>
                  <a:lnTo>
                    <a:pt x="288093" y="33090"/>
                  </a:lnTo>
                  <a:lnTo>
                    <a:pt x="272739" y="33090"/>
                  </a:lnTo>
                  <a:lnTo>
                    <a:pt x="272739" y="61094"/>
                  </a:lnTo>
                  <a:lnTo>
                    <a:pt x="272729" y="61094"/>
                  </a:lnTo>
                  <a:cubicBezTo>
                    <a:pt x="272729" y="66180"/>
                    <a:pt x="275320" y="68237"/>
                    <a:pt x="279759" y="68237"/>
                  </a:cubicBezTo>
                  <a:cubicBezTo>
                    <a:pt x="282683" y="68237"/>
                    <a:pt x="285274" y="67590"/>
                    <a:pt x="287865" y="66285"/>
                  </a:cubicBezTo>
                  <a:lnTo>
                    <a:pt x="287865" y="77000"/>
                  </a:lnTo>
                  <a:cubicBezTo>
                    <a:pt x="284626" y="78829"/>
                    <a:pt x="280940" y="79915"/>
                    <a:pt x="276082" y="79915"/>
                  </a:cubicBezTo>
                  <a:cubicBezTo>
                    <a:pt x="266462" y="79915"/>
                    <a:pt x="259652" y="75696"/>
                    <a:pt x="259652" y="63161"/>
                  </a:cubicBezTo>
                  <a:lnTo>
                    <a:pt x="259652" y="33100"/>
                  </a:lnTo>
                  <a:lnTo>
                    <a:pt x="252403" y="33100"/>
                  </a:lnTo>
                  <a:lnTo>
                    <a:pt x="252403" y="21851"/>
                  </a:lnTo>
                  <a:lnTo>
                    <a:pt x="259652" y="21851"/>
                  </a:lnTo>
                  <a:close/>
                  <a:moveTo>
                    <a:pt x="39043" y="1943"/>
                  </a:moveTo>
                  <a:cubicBezTo>
                    <a:pt x="52235" y="1943"/>
                    <a:pt x="60341" y="5629"/>
                    <a:pt x="68132" y="12220"/>
                  </a:cubicBezTo>
                  <a:lnTo>
                    <a:pt x="59703" y="22279"/>
                  </a:lnTo>
                  <a:cubicBezTo>
                    <a:pt x="53864" y="17297"/>
                    <a:pt x="48130" y="14164"/>
                    <a:pt x="38510" y="14164"/>
                  </a:cubicBezTo>
                  <a:cubicBezTo>
                    <a:pt x="24565" y="14164"/>
                    <a:pt x="13964" y="26270"/>
                    <a:pt x="13964" y="40976"/>
                  </a:cubicBezTo>
                  <a:cubicBezTo>
                    <a:pt x="13964" y="56655"/>
                    <a:pt x="24232" y="68123"/>
                    <a:pt x="39700" y="68123"/>
                  </a:cubicBezTo>
                  <a:cubicBezTo>
                    <a:pt x="46844" y="68123"/>
                    <a:pt x="53331" y="65856"/>
                    <a:pt x="57979" y="62398"/>
                  </a:cubicBezTo>
                  <a:lnTo>
                    <a:pt x="57979" y="48225"/>
                  </a:lnTo>
                  <a:lnTo>
                    <a:pt x="38624" y="48225"/>
                  </a:lnTo>
                  <a:lnTo>
                    <a:pt x="38624" y="36652"/>
                  </a:lnTo>
                  <a:lnTo>
                    <a:pt x="70847" y="36652"/>
                  </a:lnTo>
                  <a:lnTo>
                    <a:pt x="70847" y="68447"/>
                  </a:lnTo>
                  <a:cubicBezTo>
                    <a:pt x="63370" y="74819"/>
                    <a:pt x="52664" y="80229"/>
                    <a:pt x="39253" y="80229"/>
                  </a:cubicBezTo>
                  <a:cubicBezTo>
                    <a:pt x="15573" y="80229"/>
                    <a:pt x="0" y="63360"/>
                    <a:pt x="0" y="41196"/>
                  </a:cubicBezTo>
                  <a:cubicBezTo>
                    <a:pt x="0" y="19898"/>
                    <a:pt x="16221" y="1943"/>
                    <a:pt x="39043" y="1943"/>
                  </a:cubicBezTo>
                  <a:close/>
                  <a:moveTo>
                    <a:pt x="737854" y="648"/>
                  </a:moveTo>
                  <a:lnTo>
                    <a:pt x="751913" y="648"/>
                  </a:lnTo>
                  <a:lnTo>
                    <a:pt x="751913" y="13088"/>
                  </a:lnTo>
                  <a:lnTo>
                    <a:pt x="737854" y="13088"/>
                  </a:lnTo>
                  <a:close/>
                  <a:moveTo>
                    <a:pt x="502101" y="0"/>
                  </a:moveTo>
                  <a:lnTo>
                    <a:pt x="515188" y="0"/>
                  </a:lnTo>
                  <a:lnTo>
                    <a:pt x="515188" y="30709"/>
                  </a:lnTo>
                  <a:cubicBezTo>
                    <a:pt x="518874" y="25298"/>
                    <a:pt x="524170" y="20650"/>
                    <a:pt x="533029" y="20650"/>
                  </a:cubicBezTo>
                  <a:cubicBezTo>
                    <a:pt x="545897" y="20650"/>
                    <a:pt x="553365" y="29299"/>
                    <a:pt x="553365" y="42596"/>
                  </a:cubicBezTo>
                  <a:lnTo>
                    <a:pt x="553365" y="78934"/>
                  </a:lnTo>
                  <a:lnTo>
                    <a:pt x="540277" y="78934"/>
                  </a:lnTo>
                  <a:lnTo>
                    <a:pt x="540277" y="46492"/>
                  </a:lnTo>
                  <a:cubicBezTo>
                    <a:pt x="540277" y="37624"/>
                    <a:pt x="535839" y="32537"/>
                    <a:pt x="528057" y="32537"/>
                  </a:cubicBezTo>
                  <a:cubicBezTo>
                    <a:pt x="520484" y="32537"/>
                    <a:pt x="515179" y="37833"/>
                    <a:pt x="515179" y="46711"/>
                  </a:cubicBezTo>
                  <a:lnTo>
                    <a:pt x="515179" y="78934"/>
                  </a:lnTo>
                  <a:lnTo>
                    <a:pt x="502101" y="78934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4899430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le Placeholder">
            <a:extLst>
              <a:ext uri="{FF2B5EF4-FFF2-40B4-BE49-F238E27FC236}">
                <a16:creationId xmlns:a16="http://schemas.microsoft.com/office/drawing/2014/main" id="{1A219958-09E7-43E4-95DF-1DD5650C248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31800" y="2096852"/>
            <a:ext cx="7968456" cy="2952328"/>
          </a:xfrm>
        </p:spPr>
        <p:txBody>
          <a:bodyPr/>
          <a:lstStyle>
            <a:lvl1pPr>
              <a:lnSpc>
                <a:spcPct val="112000"/>
              </a:lnSpc>
              <a:defRPr sz="300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2" name="RightArea">
            <a:extLst>
              <a:ext uri="{FF2B5EF4-FFF2-40B4-BE49-F238E27FC236}">
                <a16:creationId xmlns:a16="http://schemas.microsoft.com/office/drawing/2014/main" id="{C597677C-F935-4C08-8EFC-D9F4210F9327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10177458" y="215848"/>
            <a:ext cx="1798344" cy="6232266"/>
            <a:chOff x="10177458" y="215848"/>
            <a:chExt cx="1798344" cy="6232266"/>
          </a:xfrm>
        </p:grpSpPr>
        <p:sp>
          <p:nvSpPr>
            <p:cNvPr id="9" name="Logo">
              <a:extLst>
                <a:ext uri="{FF2B5EF4-FFF2-40B4-BE49-F238E27FC236}">
                  <a16:creationId xmlns:a16="http://schemas.microsoft.com/office/drawing/2014/main" id="{92798003-0161-4863-A1F5-434A2FB0CFFA}"/>
                </a:ext>
              </a:extLst>
            </p:cNvPr>
            <p:cNvSpPr/>
            <p:nvPr/>
          </p:nvSpPr>
          <p:spPr bwMode="gray">
            <a:xfrm>
              <a:off x="10177458" y="215848"/>
              <a:ext cx="1798344" cy="419950"/>
            </a:xfrm>
            <a:custGeom>
              <a:avLst/>
              <a:gdLst>
                <a:gd name="connsiteX0" fmla="*/ 1015493 w 1798344"/>
                <a:gd name="connsiteY0" fmla="*/ 267913 h 419950"/>
                <a:gd name="connsiteX1" fmla="*/ 988878 w 1798344"/>
                <a:gd name="connsiteY1" fmla="*/ 332853 h 419950"/>
                <a:gd name="connsiteX2" fmla="*/ 1042105 w 1798344"/>
                <a:gd name="connsiteY2" fmla="*/ 332853 h 419950"/>
                <a:gd name="connsiteX3" fmla="*/ 468589 w 1798344"/>
                <a:gd name="connsiteY3" fmla="*/ 267913 h 419950"/>
                <a:gd name="connsiteX4" fmla="*/ 441977 w 1798344"/>
                <a:gd name="connsiteY4" fmla="*/ 332853 h 419950"/>
                <a:gd name="connsiteX5" fmla="*/ 495204 w 1798344"/>
                <a:gd name="connsiteY5" fmla="*/ 332853 h 419950"/>
                <a:gd name="connsiteX6" fmla="*/ 652079 w 1798344"/>
                <a:gd name="connsiteY6" fmla="*/ 256195 h 419950"/>
                <a:gd name="connsiteX7" fmla="*/ 652079 w 1798344"/>
                <a:gd name="connsiteY7" fmla="*/ 313624 h 419950"/>
                <a:gd name="connsiteX8" fmla="*/ 696645 w 1798344"/>
                <a:gd name="connsiteY8" fmla="*/ 313624 h 419950"/>
                <a:gd name="connsiteX9" fmla="*/ 730390 w 1798344"/>
                <a:gd name="connsiteY9" fmla="*/ 285356 h 419950"/>
                <a:gd name="connsiteX10" fmla="*/ 730518 w 1798344"/>
                <a:gd name="connsiteY10" fmla="*/ 285356 h 419950"/>
                <a:gd name="connsiteX11" fmla="*/ 730518 w 1798344"/>
                <a:gd name="connsiteY11" fmla="*/ 284720 h 419950"/>
                <a:gd name="connsiteX12" fmla="*/ 695881 w 1798344"/>
                <a:gd name="connsiteY12" fmla="*/ 256195 h 419950"/>
                <a:gd name="connsiteX13" fmla="*/ 218759 w 1798344"/>
                <a:gd name="connsiteY13" fmla="*/ 216596 h 419950"/>
                <a:gd name="connsiteX14" fmla="*/ 262818 w 1798344"/>
                <a:gd name="connsiteY14" fmla="*/ 216596 h 419950"/>
                <a:gd name="connsiteX15" fmla="*/ 262818 w 1798344"/>
                <a:gd name="connsiteY15" fmla="*/ 376656 h 419950"/>
                <a:gd name="connsiteX16" fmla="*/ 337944 w 1798344"/>
                <a:gd name="connsiteY16" fmla="*/ 376656 h 419950"/>
                <a:gd name="connsiteX17" fmla="*/ 337944 w 1798344"/>
                <a:gd name="connsiteY17" fmla="*/ 416638 h 419950"/>
                <a:gd name="connsiteX18" fmla="*/ 218759 w 1798344"/>
                <a:gd name="connsiteY18" fmla="*/ 416638 h 419950"/>
                <a:gd name="connsiteX19" fmla="*/ 1374576 w 1798344"/>
                <a:gd name="connsiteY19" fmla="*/ 216467 h 419950"/>
                <a:gd name="connsiteX20" fmla="*/ 1540365 w 1798344"/>
                <a:gd name="connsiteY20" fmla="*/ 216467 h 419950"/>
                <a:gd name="connsiteX21" fmla="*/ 1540365 w 1798344"/>
                <a:gd name="connsiteY21" fmla="*/ 257088 h 419950"/>
                <a:gd name="connsiteX22" fmla="*/ 1479499 w 1798344"/>
                <a:gd name="connsiteY22" fmla="*/ 257088 h 419950"/>
                <a:gd name="connsiteX23" fmla="*/ 1479499 w 1798344"/>
                <a:gd name="connsiteY23" fmla="*/ 416637 h 419950"/>
                <a:gd name="connsiteX24" fmla="*/ 1435440 w 1798344"/>
                <a:gd name="connsiteY24" fmla="*/ 416637 h 419950"/>
                <a:gd name="connsiteX25" fmla="*/ 1435440 w 1798344"/>
                <a:gd name="connsiteY25" fmla="*/ 257088 h 419950"/>
                <a:gd name="connsiteX26" fmla="*/ 1374576 w 1798344"/>
                <a:gd name="connsiteY26" fmla="*/ 257088 h 419950"/>
                <a:gd name="connsiteX27" fmla="*/ 1155049 w 1798344"/>
                <a:gd name="connsiteY27" fmla="*/ 216467 h 419950"/>
                <a:gd name="connsiteX28" fmla="*/ 1195670 w 1798344"/>
                <a:gd name="connsiteY28" fmla="*/ 216467 h 419950"/>
                <a:gd name="connsiteX29" fmla="*/ 1289389 w 1798344"/>
                <a:gd name="connsiteY29" fmla="*/ 339729 h 419950"/>
                <a:gd name="connsiteX30" fmla="*/ 1289389 w 1798344"/>
                <a:gd name="connsiteY30" fmla="*/ 216467 h 419950"/>
                <a:gd name="connsiteX31" fmla="*/ 1332937 w 1798344"/>
                <a:gd name="connsiteY31" fmla="*/ 216467 h 419950"/>
                <a:gd name="connsiteX32" fmla="*/ 1332937 w 1798344"/>
                <a:gd name="connsiteY32" fmla="*/ 416637 h 419950"/>
                <a:gd name="connsiteX33" fmla="*/ 1295373 w 1798344"/>
                <a:gd name="connsiteY33" fmla="*/ 416637 h 419950"/>
                <a:gd name="connsiteX34" fmla="*/ 1198472 w 1798344"/>
                <a:gd name="connsiteY34" fmla="*/ 289430 h 419950"/>
                <a:gd name="connsiteX35" fmla="*/ 1198472 w 1798344"/>
                <a:gd name="connsiteY35" fmla="*/ 416637 h 419950"/>
                <a:gd name="connsiteX36" fmla="*/ 1155049 w 1798344"/>
                <a:gd name="connsiteY36" fmla="*/ 416637 h 419950"/>
                <a:gd name="connsiteX37" fmla="*/ 831111 w 1798344"/>
                <a:gd name="connsiteY37" fmla="*/ 216467 h 419950"/>
                <a:gd name="connsiteX38" fmla="*/ 875170 w 1798344"/>
                <a:gd name="connsiteY38" fmla="*/ 216467 h 419950"/>
                <a:gd name="connsiteX39" fmla="*/ 875170 w 1798344"/>
                <a:gd name="connsiteY39" fmla="*/ 416637 h 419950"/>
                <a:gd name="connsiteX40" fmla="*/ 831111 w 1798344"/>
                <a:gd name="connsiteY40" fmla="*/ 416637 h 419950"/>
                <a:gd name="connsiteX41" fmla="*/ 608149 w 1798344"/>
                <a:gd name="connsiteY41" fmla="*/ 216467 h 419950"/>
                <a:gd name="connsiteX42" fmla="*/ 699576 w 1798344"/>
                <a:gd name="connsiteY42" fmla="*/ 216467 h 419950"/>
                <a:gd name="connsiteX43" fmla="*/ 775084 w 1798344"/>
                <a:gd name="connsiteY43" fmla="*/ 282554 h 419950"/>
                <a:gd name="connsiteX44" fmla="*/ 775084 w 1798344"/>
                <a:gd name="connsiteY44" fmla="*/ 283192 h 419950"/>
                <a:gd name="connsiteX45" fmla="*/ 732172 w 1798344"/>
                <a:gd name="connsiteY45" fmla="*/ 345202 h 419950"/>
                <a:gd name="connsiteX46" fmla="*/ 781197 w 1798344"/>
                <a:gd name="connsiteY46" fmla="*/ 416637 h 419950"/>
                <a:gd name="connsiteX47" fmla="*/ 729754 w 1798344"/>
                <a:gd name="connsiteY47" fmla="*/ 416637 h 419950"/>
                <a:gd name="connsiteX48" fmla="*/ 686842 w 1798344"/>
                <a:gd name="connsiteY48" fmla="*/ 352589 h 419950"/>
                <a:gd name="connsiteX49" fmla="*/ 652208 w 1798344"/>
                <a:gd name="connsiteY49" fmla="*/ 352589 h 419950"/>
                <a:gd name="connsiteX50" fmla="*/ 652208 w 1798344"/>
                <a:gd name="connsiteY50" fmla="*/ 416637 h 419950"/>
                <a:gd name="connsiteX51" fmla="*/ 608149 w 1798344"/>
                <a:gd name="connsiteY51" fmla="*/ 416637 h 419950"/>
                <a:gd name="connsiteX52" fmla="*/ 995754 w 1798344"/>
                <a:gd name="connsiteY52" fmla="*/ 215068 h 419950"/>
                <a:gd name="connsiteX53" fmla="*/ 1036375 w 1798344"/>
                <a:gd name="connsiteY53" fmla="*/ 215068 h 419950"/>
                <a:gd name="connsiteX54" fmla="*/ 1122326 w 1798344"/>
                <a:gd name="connsiteY54" fmla="*/ 416638 h 419950"/>
                <a:gd name="connsiteX55" fmla="*/ 1076232 w 1798344"/>
                <a:gd name="connsiteY55" fmla="*/ 416638 h 419950"/>
                <a:gd name="connsiteX56" fmla="*/ 1057896 w 1798344"/>
                <a:gd name="connsiteY56" fmla="*/ 371689 h 419950"/>
                <a:gd name="connsiteX57" fmla="*/ 973216 w 1798344"/>
                <a:gd name="connsiteY57" fmla="*/ 371689 h 419950"/>
                <a:gd name="connsiteX58" fmla="*/ 954880 w 1798344"/>
                <a:gd name="connsiteY58" fmla="*/ 416638 h 419950"/>
                <a:gd name="connsiteX59" fmla="*/ 909932 w 1798344"/>
                <a:gd name="connsiteY59" fmla="*/ 416638 h 419950"/>
                <a:gd name="connsiteX60" fmla="*/ 446561 w 1798344"/>
                <a:gd name="connsiteY60" fmla="*/ 215068 h 419950"/>
                <a:gd name="connsiteX61" fmla="*/ 489474 w 1798344"/>
                <a:gd name="connsiteY61" fmla="*/ 215068 h 419950"/>
                <a:gd name="connsiteX62" fmla="*/ 575297 w 1798344"/>
                <a:gd name="connsiteY62" fmla="*/ 416638 h 419950"/>
                <a:gd name="connsiteX63" fmla="*/ 529328 w 1798344"/>
                <a:gd name="connsiteY63" fmla="*/ 416638 h 419950"/>
                <a:gd name="connsiteX64" fmla="*/ 510992 w 1798344"/>
                <a:gd name="connsiteY64" fmla="*/ 371689 h 419950"/>
                <a:gd name="connsiteX65" fmla="*/ 426315 w 1798344"/>
                <a:gd name="connsiteY65" fmla="*/ 371689 h 419950"/>
                <a:gd name="connsiteX66" fmla="*/ 407979 w 1798344"/>
                <a:gd name="connsiteY66" fmla="*/ 416638 h 419950"/>
                <a:gd name="connsiteX67" fmla="*/ 363031 w 1798344"/>
                <a:gd name="connsiteY67" fmla="*/ 416638 h 419950"/>
                <a:gd name="connsiteX68" fmla="*/ 104415 w 1798344"/>
                <a:gd name="connsiteY68" fmla="*/ 213029 h 419950"/>
                <a:gd name="connsiteX69" fmla="*/ 183362 w 1798344"/>
                <a:gd name="connsiteY69" fmla="*/ 243846 h 419950"/>
                <a:gd name="connsiteX70" fmla="*/ 155347 w 1798344"/>
                <a:gd name="connsiteY70" fmla="*/ 276188 h 419950"/>
                <a:gd name="connsiteX71" fmla="*/ 104159 w 1798344"/>
                <a:gd name="connsiteY71" fmla="*/ 253650 h 419950"/>
                <a:gd name="connsiteX72" fmla="*/ 46094 w 1798344"/>
                <a:gd name="connsiteY72" fmla="*/ 315916 h 419950"/>
                <a:gd name="connsiteX73" fmla="*/ 46094 w 1798344"/>
                <a:gd name="connsiteY73" fmla="*/ 316552 h 419950"/>
                <a:gd name="connsiteX74" fmla="*/ 104033 w 1798344"/>
                <a:gd name="connsiteY74" fmla="*/ 379329 h 419950"/>
                <a:gd name="connsiteX75" fmla="*/ 156621 w 1798344"/>
                <a:gd name="connsiteY75" fmla="*/ 355898 h 419950"/>
                <a:gd name="connsiteX76" fmla="*/ 184636 w 1798344"/>
                <a:gd name="connsiteY76" fmla="*/ 384167 h 419950"/>
                <a:gd name="connsiteX77" fmla="*/ 102631 w 1798344"/>
                <a:gd name="connsiteY77" fmla="*/ 419950 h 419950"/>
                <a:gd name="connsiteX78" fmla="*/ 0 w 1798344"/>
                <a:gd name="connsiteY78" fmla="*/ 317062 h 419950"/>
                <a:gd name="connsiteX79" fmla="*/ 0 w 1798344"/>
                <a:gd name="connsiteY79" fmla="*/ 316552 h 419950"/>
                <a:gd name="connsiteX80" fmla="*/ 104415 w 1798344"/>
                <a:gd name="connsiteY80" fmla="*/ 213029 h 419950"/>
                <a:gd name="connsiteX81" fmla="*/ 1617913 w 1798344"/>
                <a:gd name="connsiteY81" fmla="*/ 0 h 419950"/>
                <a:gd name="connsiteX82" fmla="*/ 1798344 w 1798344"/>
                <a:gd name="connsiteY82" fmla="*/ 0 h 419950"/>
                <a:gd name="connsiteX83" fmla="*/ 1798344 w 1798344"/>
                <a:gd name="connsiteY83" fmla="*/ 95247 h 419950"/>
                <a:gd name="connsiteX84" fmla="*/ 1690111 w 1798344"/>
                <a:gd name="connsiteY84" fmla="*/ 95247 h 419950"/>
                <a:gd name="connsiteX85" fmla="*/ 1677123 w 1798344"/>
                <a:gd name="connsiteY85" fmla="*/ 108235 h 419950"/>
                <a:gd name="connsiteX86" fmla="*/ 1690111 w 1798344"/>
                <a:gd name="connsiteY86" fmla="*/ 121224 h 419950"/>
                <a:gd name="connsiteX87" fmla="*/ 1798344 w 1798344"/>
                <a:gd name="connsiteY87" fmla="*/ 121224 h 419950"/>
                <a:gd name="connsiteX88" fmla="*/ 1798344 w 1798344"/>
                <a:gd name="connsiteY88" fmla="*/ 216468 h 419950"/>
                <a:gd name="connsiteX89" fmla="*/ 1617913 w 1798344"/>
                <a:gd name="connsiteY89" fmla="*/ 216468 h 419950"/>
                <a:gd name="connsiteX90" fmla="*/ 1581876 w 1798344"/>
                <a:gd name="connsiteY90" fmla="*/ 180434 h 419950"/>
                <a:gd name="connsiteX91" fmla="*/ 1581876 w 1798344"/>
                <a:gd name="connsiteY91" fmla="*/ 36037 h 419950"/>
                <a:gd name="connsiteX92" fmla="*/ 1617913 w 1798344"/>
                <a:gd name="connsiteY92" fmla="*/ 0 h 419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798344" h="419950">
                  <a:moveTo>
                    <a:pt x="1015493" y="267913"/>
                  </a:moveTo>
                  <a:lnTo>
                    <a:pt x="988878" y="332853"/>
                  </a:lnTo>
                  <a:lnTo>
                    <a:pt x="1042105" y="332853"/>
                  </a:lnTo>
                  <a:close/>
                  <a:moveTo>
                    <a:pt x="468589" y="267913"/>
                  </a:moveTo>
                  <a:lnTo>
                    <a:pt x="441977" y="332853"/>
                  </a:lnTo>
                  <a:lnTo>
                    <a:pt x="495204" y="332853"/>
                  </a:lnTo>
                  <a:close/>
                  <a:moveTo>
                    <a:pt x="652079" y="256195"/>
                  </a:moveTo>
                  <a:lnTo>
                    <a:pt x="652079" y="313624"/>
                  </a:lnTo>
                  <a:lnTo>
                    <a:pt x="696645" y="313624"/>
                  </a:lnTo>
                  <a:cubicBezTo>
                    <a:pt x="718038" y="313624"/>
                    <a:pt x="730390" y="302293"/>
                    <a:pt x="730390" y="285356"/>
                  </a:cubicBezTo>
                  <a:lnTo>
                    <a:pt x="730518" y="285356"/>
                  </a:lnTo>
                  <a:lnTo>
                    <a:pt x="730518" y="284720"/>
                  </a:lnTo>
                  <a:cubicBezTo>
                    <a:pt x="730518" y="265874"/>
                    <a:pt x="717274" y="256195"/>
                    <a:pt x="695881" y="256195"/>
                  </a:cubicBezTo>
                  <a:close/>
                  <a:moveTo>
                    <a:pt x="218759" y="216596"/>
                  </a:moveTo>
                  <a:lnTo>
                    <a:pt x="262818" y="216596"/>
                  </a:lnTo>
                  <a:lnTo>
                    <a:pt x="262818" y="376656"/>
                  </a:lnTo>
                  <a:lnTo>
                    <a:pt x="337944" y="376656"/>
                  </a:lnTo>
                  <a:lnTo>
                    <a:pt x="337944" y="416638"/>
                  </a:lnTo>
                  <a:lnTo>
                    <a:pt x="218759" y="416638"/>
                  </a:lnTo>
                  <a:close/>
                  <a:moveTo>
                    <a:pt x="1374576" y="216467"/>
                  </a:moveTo>
                  <a:lnTo>
                    <a:pt x="1540365" y="216467"/>
                  </a:lnTo>
                  <a:lnTo>
                    <a:pt x="1540365" y="257088"/>
                  </a:lnTo>
                  <a:lnTo>
                    <a:pt x="1479499" y="257088"/>
                  </a:lnTo>
                  <a:lnTo>
                    <a:pt x="1479499" y="416637"/>
                  </a:lnTo>
                  <a:lnTo>
                    <a:pt x="1435440" y="416637"/>
                  </a:lnTo>
                  <a:lnTo>
                    <a:pt x="1435440" y="257088"/>
                  </a:lnTo>
                  <a:lnTo>
                    <a:pt x="1374576" y="257088"/>
                  </a:lnTo>
                  <a:close/>
                  <a:moveTo>
                    <a:pt x="1155049" y="216467"/>
                  </a:moveTo>
                  <a:lnTo>
                    <a:pt x="1195670" y="216467"/>
                  </a:lnTo>
                  <a:lnTo>
                    <a:pt x="1289389" y="339729"/>
                  </a:lnTo>
                  <a:lnTo>
                    <a:pt x="1289389" y="216467"/>
                  </a:lnTo>
                  <a:lnTo>
                    <a:pt x="1332937" y="216467"/>
                  </a:lnTo>
                  <a:lnTo>
                    <a:pt x="1332937" y="416637"/>
                  </a:lnTo>
                  <a:lnTo>
                    <a:pt x="1295373" y="416637"/>
                  </a:lnTo>
                  <a:lnTo>
                    <a:pt x="1198472" y="289430"/>
                  </a:lnTo>
                  <a:lnTo>
                    <a:pt x="1198472" y="416637"/>
                  </a:lnTo>
                  <a:lnTo>
                    <a:pt x="1155049" y="416637"/>
                  </a:lnTo>
                  <a:close/>
                  <a:moveTo>
                    <a:pt x="831111" y="216467"/>
                  </a:moveTo>
                  <a:lnTo>
                    <a:pt x="875170" y="216467"/>
                  </a:lnTo>
                  <a:lnTo>
                    <a:pt x="875170" y="416637"/>
                  </a:lnTo>
                  <a:lnTo>
                    <a:pt x="831111" y="416637"/>
                  </a:lnTo>
                  <a:close/>
                  <a:moveTo>
                    <a:pt x="608149" y="216467"/>
                  </a:moveTo>
                  <a:lnTo>
                    <a:pt x="699576" y="216467"/>
                  </a:lnTo>
                  <a:cubicBezTo>
                    <a:pt x="746816" y="216467"/>
                    <a:pt x="775084" y="241426"/>
                    <a:pt x="775084" y="282554"/>
                  </a:cubicBezTo>
                  <a:lnTo>
                    <a:pt x="775084" y="283192"/>
                  </a:lnTo>
                  <a:cubicBezTo>
                    <a:pt x="775084" y="315534"/>
                    <a:pt x="757641" y="335780"/>
                    <a:pt x="732172" y="345202"/>
                  </a:cubicBezTo>
                  <a:lnTo>
                    <a:pt x="781197" y="416637"/>
                  </a:lnTo>
                  <a:lnTo>
                    <a:pt x="729754" y="416637"/>
                  </a:lnTo>
                  <a:lnTo>
                    <a:pt x="686842" y="352589"/>
                  </a:lnTo>
                  <a:lnTo>
                    <a:pt x="652208" y="352589"/>
                  </a:lnTo>
                  <a:lnTo>
                    <a:pt x="652208" y="416637"/>
                  </a:lnTo>
                  <a:lnTo>
                    <a:pt x="608149" y="416637"/>
                  </a:lnTo>
                  <a:close/>
                  <a:moveTo>
                    <a:pt x="995754" y="215068"/>
                  </a:moveTo>
                  <a:lnTo>
                    <a:pt x="1036375" y="215068"/>
                  </a:lnTo>
                  <a:lnTo>
                    <a:pt x="1122326" y="416638"/>
                  </a:lnTo>
                  <a:lnTo>
                    <a:pt x="1076232" y="416638"/>
                  </a:lnTo>
                  <a:lnTo>
                    <a:pt x="1057896" y="371689"/>
                  </a:lnTo>
                  <a:lnTo>
                    <a:pt x="973216" y="371689"/>
                  </a:lnTo>
                  <a:lnTo>
                    <a:pt x="954880" y="416638"/>
                  </a:lnTo>
                  <a:lnTo>
                    <a:pt x="909932" y="416638"/>
                  </a:lnTo>
                  <a:close/>
                  <a:moveTo>
                    <a:pt x="446561" y="215068"/>
                  </a:moveTo>
                  <a:lnTo>
                    <a:pt x="489474" y="215068"/>
                  </a:lnTo>
                  <a:lnTo>
                    <a:pt x="575297" y="416638"/>
                  </a:lnTo>
                  <a:lnTo>
                    <a:pt x="529328" y="416638"/>
                  </a:lnTo>
                  <a:lnTo>
                    <a:pt x="510992" y="371689"/>
                  </a:lnTo>
                  <a:lnTo>
                    <a:pt x="426315" y="371689"/>
                  </a:lnTo>
                  <a:lnTo>
                    <a:pt x="407979" y="416638"/>
                  </a:lnTo>
                  <a:lnTo>
                    <a:pt x="363031" y="416638"/>
                  </a:lnTo>
                  <a:close/>
                  <a:moveTo>
                    <a:pt x="104415" y="213029"/>
                  </a:moveTo>
                  <a:cubicBezTo>
                    <a:pt x="142234" y="213029"/>
                    <a:pt x="164772" y="225510"/>
                    <a:pt x="183362" y="243846"/>
                  </a:cubicBezTo>
                  <a:lnTo>
                    <a:pt x="155347" y="276188"/>
                  </a:lnTo>
                  <a:cubicBezTo>
                    <a:pt x="139942" y="262182"/>
                    <a:pt x="124151" y="253650"/>
                    <a:pt x="104159" y="253650"/>
                  </a:cubicBezTo>
                  <a:cubicBezTo>
                    <a:pt x="70417" y="253650"/>
                    <a:pt x="46094" y="281664"/>
                    <a:pt x="46094" y="315916"/>
                  </a:cubicBezTo>
                  <a:lnTo>
                    <a:pt x="46094" y="316552"/>
                  </a:lnTo>
                  <a:cubicBezTo>
                    <a:pt x="46094" y="350932"/>
                    <a:pt x="69778" y="379457"/>
                    <a:pt x="104033" y="379329"/>
                  </a:cubicBezTo>
                  <a:cubicBezTo>
                    <a:pt x="126825" y="379329"/>
                    <a:pt x="140831" y="370161"/>
                    <a:pt x="156621" y="355898"/>
                  </a:cubicBezTo>
                  <a:lnTo>
                    <a:pt x="184636" y="384167"/>
                  </a:lnTo>
                  <a:cubicBezTo>
                    <a:pt x="164133" y="406198"/>
                    <a:pt x="141213" y="419950"/>
                    <a:pt x="102631" y="419950"/>
                  </a:cubicBezTo>
                  <a:cubicBezTo>
                    <a:pt x="43802" y="419950"/>
                    <a:pt x="0" y="374491"/>
                    <a:pt x="0" y="317062"/>
                  </a:cubicBezTo>
                  <a:lnTo>
                    <a:pt x="0" y="316552"/>
                  </a:lnTo>
                  <a:cubicBezTo>
                    <a:pt x="0" y="259633"/>
                    <a:pt x="42913" y="213029"/>
                    <a:pt x="104415" y="213029"/>
                  </a:cubicBezTo>
                  <a:close/>
                  <a:moveTo>
                    <a:pt x="1617913" y="0"/>
                  </a:moveTo>
                  <a:lnTo>
                    <a:pt x="1798344" y="0"/>
                  </a:lnTo>
                  <a:lnTo>
                    <a:pt x="1798344" y="95247"/>
                  </a:lnTo>
                  <a:lnTo>
                    <a:pt x="1690111" y="95247"/>
                  </a:lnTo>
                  <a:cubicBezTo>
                    <a:pt x="1682979" y="95247"/>
                    <a:pt x="1677123" y="101103"/>
                    <a:pt x="1677123" y="108235"/>
                  </a:cubicBezTo>
                  <a:cubicBezTo>
                    <a:pt x="1677123" y="115365"/>
                    <a:pt x="1682979" y="121224"/>
                    <a:pt x="1690111" y="121224"/>
                  </a:cubicBezTo>
                  <a:lnTo>
                    <a:pt x="1798344" y="121224"/>
                  </a:lnTo>
                  <a:lnTo>
                    <a:pt x="1798344" y="216468"/>
                  </a:lnTo>
                  <a:lnTo>
                    <a:pt x="1617913" y="216468"/>
                  </a:lnTo>
                  <a:cubicBezTo>
                    <a:pt x="1598048" y="216468"/>
                    <a:pt x="1581876" y="200424"/>
                    <a:pt x="1581876" y="180434"/>
                  </a:cubicBezTo>
                  <a:lnTo>
                    <a:pt x="1581876" y="36037"/>
                  </a:lnTo>
                  <a:cubicBezTo>
                    <a:pt x="1581876" y="16173"/>
                    <a:pt x="1597920" y="0"/>
                    <a:pt x="1617913" y="0"/>
                  </a:cubicBezTo>
                  <a:close/>
                </a:path>
              </a:pathLst>
            </a:custGeom>
            <a:solidFill>
              <a:schemeClr val="tx2"/>
            </a:solidFill>
            <a:ln w="3040" cap="flat">
              <a:noFill/>
              <a:prstDash val="solid"/>
              <a:round/>
            </a:ln>
          </p:spPr>
          <p:txBody>
            <a:bodyPr wrap="square" rtlCol="0" anchor="ctr">
              <a:noAutofit/>
            </a:bodyPr>
            <a:lstStyle/>
            <a:p>
              <a:endParaRPr lang="en-GB"/>
            </a:p>
          </p:txBody>
        </p:sp>
        <p:sp>
          <p:nvSpPr>
            <p:cNvPr id="8" name="Claim">
              <a:extLst>
                <a:ext uri="{FF2B5EF4-FFF2-40B4-BE49-F238E27FC236}">
                  <a16:creationId xmlns:a16="http://schemas.microsoft.com/office/drawing/2014/main" id="{25F853EF-2E6B-4D33-A12F-A77F9DB00510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10411200" y="6317575"/>
              <a:ext cx="1306800" cy="130539"/>
            </a:xfrm>
            <a:custGeom>
              <a:avLst/>
              <a:gdLst>
                <a:gd name="connsiteX0" fmla="*/ 216732 w 966597"/>
                <a:gd name="connsiteY0" fmla="*/ 52435 h 96555"/>
                <a:gd name="connsiteX1" fmla="*/ 203645 w 966597"/>
                <a:gd name="connsiteY1" fmla="*/ 61627 h 96555"/>
                <a:gd name="connsiteX2" fmla="*/ 203645 w 966597"/>
                <a:gd name="connsiteY2" fmla="*/ 61846 h 96555"/>
                <a:gd name="connsiteX3" fmla="*/ 214674 w 966597"/>
                <a:gd name="connsiteY3" fmla="*/ 70275 h 96555"/>
                <a:gd name="connsiteX4" fmla="*/ 229819 w 966597"/>
                <a:gd name="connsiteY4" fmla="*/ 58274 h 96555"/>
                <a:gd name="connsiteX5" fmla="*/ 229819 w 966597"/>
                <a:gd name="connsiteY5" fmla="*/ 54712 h 96555"/>
                <a:gd name="connsiteX6" fmla="*/ 216732 w 966597"/>
                <a:gd name="connsiteY6" fmla="*/ 52435 h 96555"/>
                <a:gd name="connsiteX7" fmla="*/ 594312 w 966597"/>
                <a:gd name="connsiteY7" fmla="*/ 31356 h 96555"/>
                <a:gd name="connsiteX8" fmla="*/ 579501 w 966597"/>
                <a:gd name="connsiteY8" fmla="*/ 46387 h 96555"/>
                <a:gd name="connsiteX9" fmla="*/ 608799 w 966597"/>
                <a:gd name="connsiteY9" fmla="*/ 46387 h 96555"/>
                <a:gd name="connsiteX10" fmla="*/ 594312 w 966597"/>
                <a:gd name="connsiteY10" fmla="*/ 31356 h 96555"/>
                <a:gd name="connsiteX11" fmla="*/ 324287 w 966597"/>
                <a:gd name="connsiteY11" fmla="*/ 31356 h 96555"/>
                <a:gd name="connsiteX12" fmla="*/ 309476 w 966597"/>
                <a:gd name="connsiteY12" fmla="*/ 46387 h 96555"/>
                <a:gd name="connsiteX13" fmla="*/ 338775 w 966597"/>
                <a:gd name="connsiteY13" fmla="*/ 46387 h 96555"/>
                <a:gd name="connsiteX14" fmla="*/ 324287 w 966597"/>
                <a:gd name="connsiteY14" fmla="*/ 31356 h 96555"/>
                <a:gd name="connsiteX15" fmla="*/ 153400 w 966597"/>
                <a:gd name="connsiteY15" fmla="*/ 31356 h 96555"/>
                <a:gd name="connsiteX16" fmla="*/ 138579 w 966597"/>
                <a:gd name="connsiteY16" fmla="*/ 46387 h 96555"/>
                <a:gd name="connsiteX17" fmla="*/ 167888 w 966597"/>
                <a:gd name="connsiteY17" fmla="*/ 46387 h 96555"/>
                <a:gd name="connsiteX18" fmla="*/ 153400 w 966597"/>
                <a:gd name="connsiteY18" fmla="*/ 31356 h 96555"/>
                <a:gd name="connsiteX19" fmla="*/ 907980 w 966597"/>
                <a:gd name="connsiteY19" fmla="*/ 21841 h 96555"/>
                <a:gd name="connsiteX20" fmla="*/ 921934 w 966597"/>
                <a:gd name="connsiteY20" fmla="*/ 21841 h 96555"/>
                <a:gd name="connsiteX21" fmla="*/ 938155 w 966597"/>
                <a:gd name="connsiteY21" fmla="*/ 64227 h 96555"/>
                <a:gd name="connsiteX22" fmla="*/ 952976 w 966597"/>
                <a:gd name="connsiteY22" fmla="*/ 21841 h 96555"/>
                <a:gd name="connsiteX23" fmla="*/ 966597 w 966597"/>
                <a:gd name="connsiteY23" fmla="*/ 21841 h 96555"/>
                <a:gd name="connsiteX24" fmla="*/ 943899 w 966597"/>
                <a:gd name="connsiteY24" fmla="*/ 80553 h 96555"/>
                <a:gd name="connsiteX25" fmla="*/ 925077 w 966597"/>
                <a:gd name="connsiteY25" fmla="*/ 96555 h 96555"/>
                <a:gd name="connsiteX26" fmla="*/ 911561 w 966597"/>
                <a:gd name="connsiteY26" fmla="*/ 93098 h 96555"/>
                <a:gd name="connsiteX27" fmla="*/ 915991 w 966597"/>
                <a:gd name="connsiteY27" fmla="*/ 83363 h 96555"/>
                <a:gd name="connsiteX28" fmla="*/ 923668 w 966597"/>
                <a:gd name="connsiteY28" fmla="*/ 85525 h 96555"/>
                <a:gd name="connsiteX29" fmla="*/ 931773 w 966597"/>
                <a:gd name="connsiteY29" fmla="*/ 78934 h 96555"/>
                <a:gd name="connsiteX30" fmla="*/ 738397 w 966597"/>
                <a:gd name="connsiteY30" fmla="*/ 21841 h 96555"/>
                <a:gd name="connsiteX31" fmla="*/ 751484 w 966597"/>
                <a:gd name="connsiteY31" fmla="*/ 21841 h 96555"/>
                <a:gd name="connsiteX32" fmla="*/ 751484 w 966597"/>
                <a:gd name="connsiteY32" fmla="*/ 78934 h 96555"/>
                <a:gd name="connsiteX33" fmla="*/ 738397 w 966597"/>
                <a:gd name="connsiteY33" fmla="*/ 78934 h 96555"/>
                <a:gd name="connsiteX34" fmla="*/ 217389 w 966597"/>
                <a:gd name="connsiteY34" fmla="*/ 20974 h 96555"/>
                <a:gd name="connsiteX35" fmla="*/ 242478 w 966597"/>
                <a:gd name="connsiteY35" fmla="*/ 45091 h 96555"/>
                <a:gd name="connsiteX36" fmla="*/ 242478 w 966597"/>
                <a:gd name="connsiteY36" fmla="*/ 78934 h 96555"/>
                <a:gd name="connsiteX37" fmla="*/ 229495 w 966597"/>
                <a:gd name="connsiteY37" fmla="*/ 78934 h 96555"/>
                <a:gd name="connsiteX38" fmla="*/ 229495 w 966597"/>
                <a:gd name="connsiteY38" fmla="*/ 71904 h 96555"/>
                <a:gd name="connsiteX39" fmla="*/ 211007 w 966597"/>
                <a:gd name="connsiteY39" fmla="*/ 80124 h 96555"/>
                <a:gd name="connsiteX40" fmla="*/ 190681 w 966597"/>
                <a:gd name="connsiteY40" fmla="*/ 62503 h 96555"/>
                <a:gd name="connsiteX41" fmla="*/ 190681 w 966597"/>
                <a:gd name="connsiteY41" fmla="*/ 62293 h 96555"/>
                <a:gd name="connsiteX42" fmla="*/ 213827 w 966597"/>
                <a:gd name="connsiteY42" fmla="*/ 43910 h 96555"/>
                <a:gd name="connsiteX43" fmla="*/ 229610 w 966597"/>
                <a:gd name="connsiteY43" fmla="*/ 46282 h 96555"/>
                <a:gd name="connsiteX44" fmla="*/ 229610 w 966597"/>
                <a:gd name="connsiteY44" fmla="*/ 44882 h 96555"/>
                <a:gd name="connsiteX45" fmla="*/ 215551 w 966597"/>
                <a:gd name="connsiteY45" fmla="*/ 32661 h 96555"/>
                <a:gd name="connsiteX46" fmla="*/ 199225 w 966597"/>
                <a:gd name="connsiteY46" fmla="*/ 36233 h 96555"/>
                <a:gd name="connsiteX47" fmla="*/ 195653 w 966597"/>
                <a:gd name="connsiteY47" fmla="*/ 25737 h 96555"/>
                <a:gd name="connsiteX48" fmla="*/ 217389 w 966597"/>
                <a:gd name="connsiteY48" fmla="*/ 20974 h 96555"/>
                <a:gd name="connsiteX49" fmla="*/ 786517 w 966597"/>
                <a:gd name="connsiteY49" fmla="*/ 20879 h 96555"/>
                <a:gd name="connsiteX50" fmla="*/ 807500 w 966597"/>
                <a:gd name="connsiteY50" fmla="*/ 27366 h 96555"/>
                <a:gd name="connsiteX51" fmla="*/ 802309 w 966597"/>
                <a:gd name="connsiteY51" fmla="*/ 36662 h 96555"/>
                <a:gd name="connsiteX52" fmla="*/ 786202 w 966597"/>
                <a:gd name="connsiteY52" fmla="*/ 31252 h 96555"/>
                <a:gd name="connsiteX53" fmla="*/ 778201 w 966597"/>
                <a:gd name="connsiteY53" fmla="*/ 36986 h 96555"/>
                <a:gd name="connsiteX54" fmla="*/ 778201 w 966597"/>
                <a:gd name="connsiteY54" fmla="*/ 37195 h 96555"/>
                <a:gd name="connsiteX55" fmla="*/ 791070 w 966597"/>
                <a:gd name="connsiteY55" fmla="*/ 45196 h 96555"/>
                <a:gd name="connsiteX56" fmla="*/ 808805 w 966597"/>
                <a:gd name="connsiteY56" fmla="*/ 61846 h 96555"/>
                <a:gd name="connsiteX57" fmla="*/ 808805 w 966597"/>
                <a:gd name="connsiteY57" fmla="*/ 62065 h 96555"/>
                <a:gd name="connsiteX58" fmla="*/ 787593 w 966597"/>
                <a:gd name="connsiteY58" fmla="*/ 80020 h 96555"/>
                <a:gd name="connsiteX59" fmla="*/ 763371 w 966597"/>
                <a:gd name="connsiteY59" fmla="*/ 71476 h 96555"/>
                <a:gd name="connsiteX60" fmla="*/ 769219 w 966597"/>
                <a:gd name="connsiteY60" fmla="*/ 62608 h 96555"/>
                <a:gd name="connsiteX61" fmla="*/ 787917 w 966597"/>
                <a:gd name="connsiteY61" fmla="*/ 69637 h 96555"/>
                <a:gd name="connsiteX62" fmla="*/ 796785 w 966597"/>
                <a:gd name="connsiteY62" fmla="*/ 63475 h 96555"/>
                <a:gd name="connsiteX63" fmla="*/ 796785 w 966597"/>
                <a:gd name="connsiteY63" fmla="*/ 63256 h 96555"/>
                <a:gd name="connsiteX64" fmla="*/ 784031 w 966597"/>
                <a:gd name="connsiteY64" fmla="*/ 55255 h 96555"/>
                <a:gd name="connsiteX65" fmla="*/ 766190 w 966597"/>
                <a:gd name="connsiteY65" fmla="*/ 38500 h 96555"/>
                <a:gd name="connsiteX66" fmla="*/ 766190 w 966597"/>
                <a:gd name="connsiteY66" fmla="*/ 38281 h 96555"/>
                <a:gd name="connsiteX67" fmla="*/ 786517 w 966597"/>
                <a:gd name="connsiteY67" fmla="*/ 20879 h 96555"/>
                <a:gd name="connsiteX68" fmla="*/ 900989 w 966597"/>
                <a:gd name="connsiteY68" fmla="*/ 20764 h 96555"/>
                <a:gd name="connsiteX69" fmla="*/ 900989 w 966597"/>
                <a:gd name="connsiteY69" fmla="*/ 34604 h 96555"/>
                <a:gd name="connsiteX70" fmla="*/ 900237 w 966597"/>
                <a:gd name="connsiteY70" fmla="*/ 34604 h 96555"/>
                <a:gd name="connsiteX71" fmla="*/ 880767 w 966597"/>
                <a:gd name="connsiteY71" fmla="*/ 57197 h 96555"/>
                <a:gd name="connsiteX72" fmla="*/ 880767 w 966597"/>
                <a:gd name="connsiteY72" fmla="*/ 78933 h 96555"/>
                <a:gd name="connsiteX73" fmla="*/ 867680 w 966597"/>
                <a:gd name="connsiteY73" fmla="*/ 78933 h 96555"/>
                <a:gd name="connsiteX74" fmla="*/ 867680 w 966597"/>
                <a:gd name="connsiteY74" fmla="*/ 21840 h 96555"/>
                <a:gd name="connsiteX75" fmla="*/ 880767 w 966597"/>
                <a:gd name="connsiteY75" fmla="*/ 21840 h 96555"/>
                <a:gd name="connsiteX76" fmla="*/ 880767 w 966597"/>
                <a:gd name="connsiteY76" fmla="*/ 34718 h 96555"/>
                <a:gd name="connsiteX77" fmla="*/ 900989 w 966597"/>
                <a:gd name="connsiteY77" fmla="*/ 20764 h 96555"/>
                <a:gd name="connsiteX78" fmla="*/ 397154 w 966597"/>
                <a:gd name="connsiteY78" fmla="*/ 20764 h 96555"/>
                <a:gd name="connsiteX79" fmla="*/ 397154 w 966597"/>
                <a:gd name="connsiteY79" fmla="*/ 34604 h 96555"/>
                <a:gd name="connsiteX80" fmla="*/ 396401 w 966597"/>
                <a:gd name="connsiteY80" fmla="*/ 34604 h 96555"/>
                <a:gd name="connsiteX81" fmla="*/ 376932 w 966597"/>
                <a:gd name="connsiteY81" fmla="*/ 57197 h 96555"/>
                <a:gd name="connsiteX82" fmla="*/ 376932 w 966597"/>
                <a:gd name="connsiteY82" fmla="*/ 78933 h 96555"/>
                <a:gd name="connsiteX83" fmla="*/ 363845 w 966597"/>
                <a:gd name="connsiteY83" fmla="*/ 78933 h 96555"/>
                <a:gd name="connsiteX84" fmla="*/ 363845 w 966597"/>
                <a:gd name="connsiteY84" fmla="*/ 21840 h 96555"/>
                <a:gd name="connsiteX85" fmla="*/ 376932 w 966597"/>
                <a:gd name="connsiteY85" fmla="*/ 21840 h 96555"/>
                <a:gd name="connsiteX86" fmla="*/ 376932 w 966597"/>
                <a:gd name="connsiteY86" fmla="*/ 34718 h 96555"/>
                <a:gd name="connsiteX87" fmla="*/ 397154 w 966597"/>
                <a:gd name="connsiteY87" fmla="*/ 20764 h 96555"/>
                <a:gd name="connsiteX88" fmla="*/ 118815 w 966597"/>
                <a:gd name="connsiteY88" fmla="*/ 20764 h 96555"/>
                <a:gd name="connsiteX89" fmla="*/ 118815 w 966597"/>
                <a:gd name="connsiteY89" fmla="*/ 34604 h 96555"/>
                <a:gd name="connsiteX90" fmla="*/ 118062 w 966597"/>
                <a:gd name="connsiteY90" fmla="*/ 34604 h 96555"/>
                <a:gd name="connsiteX91" fmla="*/ 98603 w 966597"/>
                <a:gd name="connsiteY91" fmla="*/ 57197 h 96555"/>
                <a:gd name="connsiteX92" fmla="*/ 98603 w 966597"/>
                <a:gd name="connsiteY92" fmla="*/ 78933 h 96555"/>
                <a:gd name="connsiteX93" fmla="*/ 98593 w 966597"/>
                <a:gd name="connsiteY93" fmla="*/ 78933 h 96555"/>
                <a:gd name="connsiteX94" fmla="*/ 85506 w 966597"/>
                <a:gd name="connsiteY94" fmla="*/ 78933 h 96555"/>
                <a:gd name="connsiteX95" fmla="*/ 85506 w 966597"/>
                <a:gd name="connsiteY95" fmla="*/ 21840 h 96555"/>
                <a:gd name="connsiteX96" fmla="*/ 98593 w 966597"/>
                <a:gd name="connsiteY96" fmla="*/ 21840 h 96555"/>
                <a:gd name="connsiteX97" fmla="*/ 98593 w 966597"/>
                <a:gd name="connsiteY97" fmla="*/ 34718 h 96555"/>
                <a:gd name="connsiteX98" fmla="*/ 118815 w 966597"/>
                <a:gd name="connsiteY98" fmla="*/ 20764 h 96555"/>
                <a:gd name="connsiteX99" fmla="*/ 702316 w 966597"/>
                <a:gd name="connsiteY99" fmla="*/ 20650 h 96555"/>
                <a:gd name="connsiteX100" fmla="*/ 722319 w 966597"/>
                <a:gd name="connsiteY100" fmla="*/ 42491 h 96555"/>
                <a:gd name="connsiteX101" fmla="*/ 722319 w 966597"/>
                <a:gd name="connsiteY101" fmla="*/ 78933 h 96555"/>
                <a:gd name="connsiteX102" fmla="*/ 709232 w 966597"/>
                <a:gd name="connsiteY102" fmla="*/ 78933 h 96555"/>
                <a:gd name="connsiteX103" fmla="*/ 709232 w 966597"/>
                <a:gd name="connsiteY103" fmla="*/ 46491 h 96555"/>
                <a:gd name="connsiteX104" fmla="*/ 697659 w 966597"/>
                <a:gd name="connsiteY104" fmla="*/ 32537 h 96555"/>
                <a:gd name="connsiteX105" fmla="*/ 685438 w 966597"/>
                <a:gd name="connsiteY105" fmla="*/ 46710 h 96555"/>
                <a:gd name="connsiteX106" fmla="*/ 685438 w 966597"/>
                <a:gd name="connsiteY106" fmla="*/ 78933 h 96555"/>
                <a:gd name="connsiteX107" fmla="*/ 672351 w 966597"/>
                <a:gd name="connsiteY107" fmla="*/ 78933 h 96555"/>
                <a:gd name="connsiteX108" fmla="*/ 672351 w 966597"/>
                <a:gd name="connsiteY108" fmla="*/ 46387 h 96555"/>
                <a:gd name="connsiteX109" fmla="*/ 660778 w 966597"/>
                <a:gd name="connsiteY109" fmla="*/ 32547 h 96555"/>
                <a:gd name="connsiteX110" fmla="*/ 648557 w 966597"/>
                <a:gd name="connsiteY110" fmla="*/ 46825 h 96555"/>
                <a:gd name="connsiteX111" fmla="*/ 648557 w 966597"/>
                <a:gd name="connsiteY111" fmla="*/ 78943 h 96555"/>
                <a:gd name="connsiteX112" fmla="*/ 635470 w 966597"/>
                <a:gd name="connsiteY112" fmla="*/ 78943 h 96555"/>
                <a:gd name="connsiteX113" fmla="*/ 635470 w 966597"/>
                <a:gd name="connsiteY113" fmla="*/ 21850 h 96555"/>
                <a:gd name="connsiteX114" fmla="*/ 648557 w 966597"/>
                <a:gd name="connsiteY114" fmla="*/ 21850 h 96555"/>
                <a:gd name="connsiteX115" fmla="*/ 648557 w 966597"/>
                <a:gd name="connsiteY115" fmla="*/ 30499 h 96555"/>
                <a:gd name="connsiteX116" fmla="*/ 665969 w 966597"/>
                <a:gd name="connsiteY116" fmla="*/ 20660 h 96555"/>
                <a:gd name="connsiteX117" fmla="*/ 682943 w 966597"/>
                <a:gd name="connsiteY117" fmla="*/ 30718 h 96555"/>
                <a:gd name="connsiteX118" fmla="*/ 702316 w 966597"/>
                <a:gd name="connsiteY118" fmla="*/ 20650 h 96555"/>
                <a:gd name="connsiteX119" fmla="*/ 594436 w 966597"/>
                <a:gd name="connsiteY119" fmla="*/ 20650 h 96555"/>
                <a:gd name="connsiteX120" fmla="*/ 621801 w 966597"/>
                <a:gd name="connsiteY120" fmla="*/ 51473 h 96555"/>
                <a:gd name="connsiteX121" fmla="*/ 621582 w 966597"/>
                <a:gd name="connsiteY121" fmla="*/ 55035 h 96555"/>
                <a:gd name="connsiteX122" fmla="*/ 579624 w 966597"/>
                <a:gd name="connsiteY122" fmla="*/ 55035 h 96555"/>
                <a:gd name="connsiteX123" fmla="*/ 596045 w 966597"/>
                <a:gd name="connsiteY123" fmla="*/ 69523 h 96555"/>
                <a:gd name="connsiteX124" fmla="*/ 611514 w 966597"/>
                <a:gd name="connsiteY124" fmla="*/ 62712 h 96555"/>
                <a:gd name="connsiteX125" fmla="*/ 619191 w 966597"/>
                <a:gd name="connsiteY125" fmla="*/ 69523 h 96555"/>
                <a:gd name="connsiteX126" fmla="*/ 595836 w 966597"/>
                <a:gd name="connsiteY126" fmla="*/ 80229 h 96555"/>
                <a:gd name="connsiteX127" fmla="*/ 566537 w 966597"/>
                <a:gd name="connsiteY127" fmla="*/ 50492 h 96555"/>
                <a:gd name="connsiteX128" fmla="*/ 594436 w 966597"/>
                <a:gd name="connsiteY128" fmla="*/ 20650 h 96555"/>
                <a:gd name="connsiteX129" fmla="*/ 467410 w 966597"/>
                <a:gd name="connsiteY129" fmla="*/ 20650 h 96555"/>
                <a:gd name="connsiteX130" fmla="*/ 490223 w 966597"/>
                <a:gd name="connsiteY130" fmla="*/ 30489 h 96555"/>
                <a:gd name="connsiteX131" fmla="*/ 482117 w 966597"/>
                <a:gd name="connsiteY131" fmla="*/ 39252 h 96555"/>
                <a:gd name="connsiteX132" fmla="*/ 467296 w 966597"/>
                <a:gd name="connsiteY132" fmla="*/ 32109 h 96555"/>
                <a:gd name="connsiteX133" fmla="*/ 450856 w 966597"/>
                <a:gd name="connsiteY133" fmla="*/ 50378 h 96555"/>
                <a:gd name="connsiteX134" fmla="*/ 467944 w 966597"/>
                <a:gd name="connsiteY134" fmla="*/ 68866 h 96555"/>
                <a:gd name="connsiteX135" fmla="*/ 482765 w 966597"/>
                <a:gd name="connsiteY135" fmla="*/ 61722 h 96555"/>
                <a:gd name="connsiteX136" fmla="*/ 490661 w 966597"/>
                <a:gd name="connsiteY136" fmla="*/ 69504 h 96555"/>
                <a:gd name="connsiteX137" fmla="*/ 467306 w 966597"/>
                <a:gd name="connsiteY137" fmla="*/ 80229 h 96555"/>
                <a:gd name="connsiteX138" fmla="*/ 437778 w 966597"/>
                <a:gd name="connsiteY138" fmla="*/ 50606 h 96555"/>
                <a:gd name="connsiteX139" fmla="*/ 467410 w 966597"/>
                <a:gd name="connsiteY139" fmla="*/ 20650 h 96555"/>
                <a:gd name="connsiteX140" fmla="*/ 324402 w 966597"/>
                <a:gd name="connsiteY140" fmla="*/ 20650 h 96555"/>
                <a:gd name="connsiteX141" fmla="*/ 351767 w 966597"/>
                <a:gd name="connsiteY141" fmla="*/ 51473 h 96555"/>
                <a:gd name="connsiteX142" fmla="*/ 351548 w 966597"/>
                <a:gd name="connsiteY142" fmla="*/ 55035 h 96555"/>
                <a:gd name="connsiteX143" fmla="*/ 309590 w 966597"/>
                <a:gd name="connsiteY143" fmla="*/ 55035 h 96555"/>
                <a:gd name="connsiteX144" fmla="*/ 326021 w 966597"/>
                <a:gd name="connsiteY144" fmla="*/ 69523 h 96555"/>
                <a:gd name="connsiteX145" fmla="*/ 341490 w 966597"/>
                <a:gd name="connsiteY145" fmla="*/ 62712 h 96555"/>
                <a:gd name="connsiteX146" fmla="*/ 349167 w 966597"/>
                <a:gd name="connsiteY146" fmla="*/ 69523 h 96555"/>
                <a:gd name="connsiteX147" fmla="*/ 325811 w 966597"/>
                <a:gd name="connsiteY147" fmla="*/ 80229 h 96555"/>
                <a:gd name="connsiteX148" fmla="*/ 296503 w 966597"/>
                <a:gd name="connsiteY148" fmla="*/ 50492 h 96555"/>
                <a:gd name="connsiteX149" fmla="*/ 324402 w 966597"/>
                <a:gd name="connsiteY149" fmla="*/ 20650 h 96555"/>
                <a:gd name="connsiteX150" fmla="*/ 153505 w 966597"/>
                <a:gd name="connsiteY150" fmla="*/ 20650 h 96555"/>
                <a:gd name="connsiteX151" fmla="*/ 180861 w 966597"/>
                <a:gd name="connsiteY151" fmla="*/ 51473 h 96555"/>
                <a:gd name="connsiteX152" fmla="*/ 180641 w 966597"/>
                <a:gd name="connsiteY152" fmla="*/ 55035 h 96555"/>
                <a:gd name="connsiteX153" fmla="*/ 138684 w 966597"/>
                <a:gd name="connsiteY153" fmla="*/ 55035 h 96555"/>
                <a:gd name="connsiteX154" fmla="*/ 155124 w 966597"/>
                <a:gd name="connsiteY154" fmla="*/ 69523 h 96555"/>
                <a:gd name="connsiteX155" fmla="*/ 170593 w 966597"/>
                <a:gd name="connsiteY155" fmla="*/ 62712 h 96555"/>
                <a:gd name="connsiteX156" fmla="*/ 178270 w 966597"/>
                <a:gd name="connsiteY156" fmla="*/ 69523 h 96555"/>
                <a:gd name="connsiteX157" fmla="*/ 154914 w 966597"/>
                <a:gd name="connsiteY157" fmla="*/ 80229 h 96555"/>
                <a:gd name="connsiteX158" fmla="*/ 125606 w 966597"/>
                <a:gd name="connsiteY158" fmla="*/ 50492 h 96555"/>
                <a:gd name="connsiteX159" fmla="*/ 153505 w 966597"/>
                <a:gd name="connsiteY159" fmla="*/ 20650 h 96555"/>
                <a:gd name="connsiteX160" fmla="*/ 824760 w 966597"/>
                <a:gd name="connsiteY160" fmla="*/ 6163 h 96555"/>
                <a:gd name="connsiteX161" fmla="*/ 837847 w 966597"/>
                <a:gd name="connsiteY161" fmla="*/ 6163 h 96555"/>
                <a:gd name="connsiteX162" fmla="*/ 837847 w 966597"/>
                <a:gd name="connsiteY162" fmla="*/ 21841 h 96555"/>
                <a:gd name="connsiteX163" fmla="*/ 853201 w 966597"/>
                <a:gd name="connsiteY163" fmla="*/ 21841 h 96555"/>
                <a:gd name="connsiteX164" fmla="*/ 853201 w 966597"/>
                <a:gd name="connsiteY164" fmla="*/ 33090 h 96555"/>
                <a:gd name="connsiteX165" fmla="*/ 837847 w 966597"/>
                <a:gd name="connsiteY165" fmla="*/ 33090 h 96555"/>
                <a:gd name="connsiteX166" fmla="*/ 837847 w 966597"/>
                <a:gd name="connsiteY166" fmla="*/ 61094 h 96555"/>
                <a:gd name="connsiteX167" fmla="*/ 844876 w 966597"/>
                <a:gd name="connsiteY167" fmla="*/ 68237 h 96555"/>
                <a:gd name="connsiteX168" fmla="*/ 852982 w 966597"/>
                <a:gd name="connsiteY168" fmla="*/ 66285 h 96555"/>
                <a:gd name="connsiteX169" fmla="*/ 852982 w 966597"/>
                <a:gd name="connsiteY169" fmla="*/ 77000 h 96555"/>
                <a:gd name="connsiteX170" fmla="*/ 841190 w 966597"/>
                <a:gd name="connsiteY170" fmla="*/ 79915 h 96555"/>
                <a:gd name="connsiteX171" fmla="*/ 824760 w 966597"/>
                <a:gd name="connsiteY171" fmla="*/ 63161 h 96555"/>
                <a:gd name="connsiteX172" fmla="*/ 824760 w 966597"/>
                <a:gd name="connsiteY172" fmla="*/ 33100 h 96555"/>
                <a:gd name="connsiteX173" fmla="*/ 817511 w 966597"/>
                <a:gd name="connsiteY173" fmla="*/ 33100 h 96555"/>
                <a:gd name="connsiteX174" fmla="*/ 817511 w 966597"/>
                <a:gd name="connsiteY174" fmla="*/ 21851 h 96555"/>
                <a:gd name="connsiteX175" fmla="*/ 824760 w 966597"/>
                <a:gd name="connsiteY175" fmla="*/ 21851 h 96555"/>
                <a:gd name="connsiteX176" fmla="*/ 259652 w 966597"/>
                <a:gd name="connsiteY176" fmla="*/ 6163 h 96555"/>
                <a:gd name="connsiteX177" fmla="*/ 272739 w 966597"/>
                <a:gd name="connsiteY177" fmla="*/ 6163 h 96555"/>
                <a:gd name="connsiteX178" fmla="*/ 272739 w 966597"/>
                <a:gd name="connsiteY178" fmla="*/ 21841 h 96555"/>
                <a:gd name="connsiteX179" fmla="*/ 288093 w 966597"/>
                <a:gd name="connsiteY179" fmla="*/ 21841 h 96555"/>
                <a:gd name="connsiteX180" fmla="*/ 288093 w 966597"/>
                <a:gd name="connsiteY180" fmla="*/ 33090 h 96555"/>
                <a:gd name="connsiteX181" fmla="*/ 272739 w 966597"/>
                <a:gd name="connsiteY181" fmla="*/ 33090 h 96555"/>
                <a:gd name="connsiteX182" fmla="*/ 272739 w 966597"/>
                <a:gd name="connsiteY182" fmla="*/ 61094 h 96555"/>
                <a:gd name="connsiteX183" fmla="*/ 272729 w 966597"/>
                <a:gd name="connsiteY183" fmla="*/ 61094 h 96555"/>
                <a:gd name="connsiteX184" fmla="*/ 279759 w 966597"/>
                <a:gd name="connsiteY184" fmla="*/ 68237 h 96555"/>
                <a:gd name="connsiteX185" fmla="*/ 287865 w 966597"/>
                <a:gd name="connsiteY185" fmla="*/ 66285 h 96555"/>
                <a:gd name="connsiteX186" fmla="*/ 287865 w 966597"/>
                <a:gd name="connsiteY186" fmla="*/ 77000 h 96555"/>
                <a:gd name="connsiteX187" fmla="*/ 276082 w 966597"/>
                <a:gd name="connsiteY187" fmla="*/ 79915 h 96555"/>
                <a:gd name="connsiteX188" fmla="*/ 259652 w 966597"/>
                <a:gd name="connsiteY188" fmla="*/ 63161 h 96555"/>
                <a:gd name="connsiteX189" fmla="*/ 259652 w 966597"/>
                <a:gd name="connsiteY189" fmla="*/ 33100 h 96555"/>
                <a:gd name="connsiteX190" fmla="*/ 252403 w 966597"/>
                <a:gd name="connsiteY190" fmla="*/ 33100 h 96555"/>
                <a:gd name="connsiteX191" fmla="*/ 252403 w 966597"/>
                <a:gd name="connsiteY191" fmla="*/ 21851 h 96555"/>
                <a:gd name="connsiteX192" fmla="*/ 259652 w 966597"/>
                <a:gd name="connsiteY192" fmla="*/ 21851 h 96555"/>
                <a:gd name="connsiteX193" fmla="*/ 39043 w 966597"/>
                <a:gd name="connsiteY193" fmla="*/ 1943 h 96555"/>
                <a:gd name="connsiteX194" fmla="*/ 68132 w 966597"/>
                <a:gd name="connsiteY194" fmla="*/ 12220 h 96555"/>
                <a:gd name="connsiteX195" fmla="*/ 59703 w 966597"/>
                <a:gd name="connsiteY195" fmla="*/ 22279 h 96555"/>
                <a:gd name="connsiteX196" fmla="*/ 38510 w 966597"/>
                <a:gd name="connsiteY196" fmla="*/ 14164 h 96555"/>
                <a:gd name="connsiteX197" fmla="*/ 13964 w 966597"/>
                <a:gd name="connsiteY197" fmla="*/ 40976 h 96555"/>
                <a:gd name="connsiteX198" fmla="*/ 39700 w 966597"/>
                <a:gd name="connsiteY198" fmla="*/ 68123 h 96555"/>
                <a:gd name="connsiteX199" fmla="*/ 57979 w 966597"/>
                <a:gd name="connsiteY199" fmla="*/ 62398 h 96555"/>
                <a:gd name="connsiteX200" fmla="*/ 57979 w 966597"/>
                <a:gd name="connsiteY200" fmla="*/ 48225 h 96555"/>
                <a:gd name="connsiteX201" fmla="*/ 38624 w 966597"/>
                <a:gd name="connsiteY201" fmla="*/ 48225 h 96555"/>
                <a:gd name="connsiteX202" fmla="*/ 38624 w 966597"/>
                <a:gd name="connsiteY202" fmla="*/ 36652 h 96555"/>
                <a:gd name="connsiteX203" fmla="*/ 70847 w 966597"/>
                <a:gd name="connsiteY203" fmla="*/ 36652 h 96555"/>
                <a:gd name="connsiteX204" fmla="*/ 70847 w 966597"/>
                <a:gd name="connsiteY204" fmla="*/ 68447 h 96555"/>
                <a:gd name="connsiteX205" fmla="*/ 39253 w 966597"/>
                <a:gd name="connsiteY205" fmla="*/ 80229 h 96555"/>
                <a:gd name="connsiteX206" fmla="*/ 0 w 966597"/>
                <a:gd name="connsiteY206" fmla="*/ 41196 h 96555"/>
                <a:gd name="connsiteX207" fmla="*/ 39043 w 966597"/>
                <a:gd name="connsiteY207" fmla="*/ 1943 h 96555"/>
                <a:gd name="connsiteX208" fmla="*/ 737854 w 966597"/>
                <a:gd name="connsiteY208" fmla="*/ 648 h 96555"/>
                <a:gd name="connsiteX209" fmla="*/ 751913 w 966597"/>
                <a:gd name="connsiteY209" fmla="*/ 648 h 96555"/>
                <a:gd name="connsiteX210" fmla="*/ 751913 w 966597"/>
                <a:gd name="connsiteY210" fmla="*/ 13088 h 96555"/>
                <a:gd name="connsiteX211" fmla="*/ 737854 w 966597"/>
                <a:gd name="connsiteY211" fmla="*/ 13088 h 96555"/>
                <a:gd name="connsiteX212" fmla="*/ 502101 w 966597"/>
                <a:gd name="connsiteY212" fmla="*/ 0 h 96555"/>
                <a:gd name="connsiteX213" fmla="*/ 515188 w 966597"/>
                <a:gd name="connsiteY213" fmla="*/ 0 h 96555"/>
                <a:gd name="connsiteX214" fmla="*/ 515188 w 966597"/>
                <a:gd name="connsiteY214" fmla="*/ 30709 h 96555"/>
                <a:gd name="connsiteX215" fmla="*/ 533029 w 966597"/>
                <a:gd name="connsiteY215" fmla="*/ 20650 h 96555"/>
                <a:gd name="connsiteX216" fmla="*/ 553365 w 966597"/>
                <a:gd name="connsiteY216" fmla="*/ 42596 h 96555"/>
                <a:gd name="connsiteX217" fmla="*/ 553365 w 966597"/>
                <a:gd name="connsiteY217" fmla="*/ 78934 h 96555"/>
                <a:gd name="connsiteX218" fmla="*/ 540277 w 966597"/>
                <a:gd name="connsiteY218" fmla="*/ 78934 h 96555"/>
                <a:gd name="connsiteX219" fmla="*/ 540277 w 966597"/>
                <a:gd name="connsiteY219" fmla="*/ 46492 h 96555"/>
                <a:gd name="connsiteX220" fmla="*/ 528057 w 966597"/>
                <a:gd name="connsiteY220" fmla="*/ 32537 h 96555"/>
                <a:gd name="connsiteX221" fmla="*/ 515179 w 966597"/>
                <a:gd name="connsiteY221" fmla="*/ 46711 h 96555"/>
                <a:gd name="connsiteX222" fmla="*/ 515179 w 966597"/>
                <a:gd name="connsiteY222" fmla="*/ 78934 h 96555"/>
                <a:gd name="connsiteX223" fmla="*/ 502101 w 966597"/>
                <a:gd name="connsiteY223" fmla="*/ 78934 h 9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66597" h="96555">
                  <a:moveTo>
                    <a:pt x="216732" y="52435"/>
                  </a:moveTo>
                  <a:cubicBezTo>
                    <a:pt x="208512" y="52435"/>
                    <a:pt x="203645" y="55788"/>
                    <a:pt x="203645" y="61627"/>
                  </a:cubicBezTo>
                  <a:lnTo>
                    <a:pt x="203645" y="61846"/>
                  </a:lnTo>
                  <a:cubicBezTo>
                    <a:pt x="203645" y="67256"/>
                    <a:pt x="208512" y="70275"/>
                    <a:pt x="214674" y="70275"/>
                  </a:cubicBezTo>
                  <a:cubicBezTo>
                    <a:pt x="223323" y="70275"/>
                    <a:pt x="229819" y="65418"/>
                    <a:pt x="229819" y="58274"/>
                  </a:cubicBezTo>
                  <a:lnTo>
                    <a:pt x="229819" y="54712"/>
                  </a:lnTo>
                  <a:cubicBezTo>
                    <a:pt x="226466" y="53407"/>
                    <a:pt x="221818" y="52435"/>
                    <a:pt x="216732" y="52435"/>
                  </a:cubicBezTo>
                  <a:close/>
                  <a:moveTo>
                    <a:pt x="594312" y="31356"/>
                  </a:moveTo>
                  <a:cubicBezTo>
                    <a:pt x="586311" y="31356"/>
                    <a:pt x="580691" y="37519"/>
                    <a:pt x="579501" y="46387"/>
                  </a:cubicBezTo>
                  <a:lnTo>
                    <a:pt x="608799" y="46387"/>
                  </a:lnTo>
                  <a:cubicBezTo>
                    <a:pt x="607942" y="37957"/>
                    <a:pt x="602961" y="31356"/>
                    <a:pt x="594312" y="31356"/>
                  </a:cubicBezTo>
                  <a:close/>
                  <a:moveTo>
                    <a:pt x="324287" y="31356"/>
                  </a:moveTo>
                  <a:cubicBezTo>
                    <a:pt x="316286" y="31356"/>
                    <a:pt x="310667" y="37519"/>
                    <a:pt x="309476" y="46387"/>
                  </a:cubicBezTo>
                  <a:lnTo>
                    <a:pt x="338775" y="46387"/>
                  </a:lnTo>
                  <a:cubicBezTo>
                    <a:pt x="337918" y="37957"/>
                    <a:pt x="332936" y="31356"/>
                    <a:pt x="324287" y="31356"/>
                  </a:cubicBezTo>
                  <a:close/>
                  <a:moveTo>
                    <a:pt x="153400" y="31356"/>
                  </a:moveTo>
                  <a:cubicBezTo>
                    <a:pt x="145399" y="31356"/>
                    <a:pt x="139770" y="37519"/>
                    <a:pt x="138579" y="46387"/>
                  </a:cubicBezTo>
                  <a:lnTo>
                    <a:pt x="167888" y="46387"/>
                  </a:lnTo>
                  <a:cubicBezTo>
                    <a:pt x="167021" y="37957"/>
                    <a:pt x="162049" y="31356"/>
                    <a:pt x="153400" y="31356"/>
                  </a:cubicBezTo>
                  <a:close/>
                  <a:moveTo>
                    <a:pt x="907980" y="21841"/>
                  </a:moveTo>
                  <a:lnTo>
                    <a:pt x="921934" y="21841"/>
                  </a:lnTo>
                  <a:lnTo>
                    <a:pt x="938155" y="64227"/>
                  </a:lnTo>
                  <a:lnTo>
                    <a:pt x="952976" y="21841"/>
                  </a:lnTo>
                  <a:lnTo>
                    <a:pt x="966597" y="21841"/>
                  </a:lnTo>
                  <a:lnTo>
                    <a:pt x="943899" y="80553"/>
                  </a:lnTo>
                  <a:cubicBezTo>
                    <a:pt x="939355" y="92231"/>
                    <a:pt x="934269" y="96555"/>
                    <a:pt x="925077" y="96555"/>
                  </a:cubicBezTo>
                  <a:cubicBezTo>
                    <a:pt x="919562" y="96555"/>
                    <a:pt x="915562" y="95260"/>
                    <a:pt x="911561" y="93098"/>
                  </a:cubicBezTo>
                  <a:lnTo>
                    <a:pt x="915991" y="83363"/>
                  </a:lnTo>
                  <a:cubicBezTo>
                    <a:pt x="918372" y="84668"/>
                    <a:pt x="920963" y="85525"/>
                    <a:pt x="923668" y="85525"/>
                  </a:cubicBezTo>
                  <a:cubicBezTo>
                    <a:pt x="927344" y="85525"/>
                    <a:pt x="929611" y="83906"/>
                    <a:pt x="931773" y="78934"/>
                  </a:cubicBezTo>
                  <a:close/>
                  <a:moveTo>
                    <a:pt x="738397" y="21841"/>
                  </a:moveTo>
                  <a:lnTo>
                    <a:pt x="751484" y="21841"/>
                  </a:lnTo>
                  <a:lnTo>
                    <a:pt x="751484" y="78934"/>
                  </a:lnTo>
                  <a:lnTo>
                    <a:pt x="738397" y="78934"/>
                  </a:lnTo>
                  <a:close/>
                  <a:moveTo>
                    <a:pt x="217389" y="20974"/>
                  </a:moveTo>
                  <a:cubicBezTo>
                    <a:pt x="234258" y="20974"/>
                    <a:pt x="242478" y="29842"/>
                    <a:pt x="242478" y="45091"/>
                  </a:cubicBezTo>
                  <a:lnTo>
                    <a:pt x="242478" y="78934"/>
                  </a:lnTo>
                  <a:lnTo>
                    <a:pt x="229495" y="78934"/>
                  </a:lnTo>
                  <a:lnTo>
                    <a:pt x="229495" y="71904"/>
                  </a:lnTo>
                  <a:cubicBezTo>
                    <a:pt x="225600" y="76552"/>
                    <a:pt x="219656" y="80124"/>
                    <a:pt x="211007" y="80124"/>
                  </a:cubicBezTo>
                  <a:cubicBezTo>
                    <a:pt x="200196" y="80124"/>
                    <a:pt x="190681" y="73962"/>
                    <a:pt x="190681" y="62503"/>
                  </a:cubicBezTo>
                  <a:lnTo>
                    <a:pt x="190681" y="62293"/>
                  </a:lnTo>
                  <a:cubicBezTo>
                    <a:pt x="190681" y="49968"/>
                    <a:pt x="200520" y="43910"/>
                    <a:pt x="213827" y="43910"/>
                  </a:cubicBezTo>
                  <a:cubicBezTo>
                    <a:pt x="220751" y="43910"/>
                    <a:pt x="225181" y="44882"/>
                    <a:pt x="229610" y="46282"/>
                  </a:cubicBezTo>
                  <a:lnTo>
                    <a:pt x="229610" y="44882"/>
                  </a:lnTo>
                  <a:cubicBezTo>
                    <a:pt x="229610" y="36995"/>
                    <a:pt x="224638" y="32661"/>
                    <a:pt x="215551" y="32661"/>
                  </a:cubicBezTo>
                  <a:cubicBezTo>
                    <a:pt x="209169" y="32661"/>
                    <a:pt x="204416" y="34061"/>
                    <a:pt x="199225" y="36233"/>
                  </a:cubicBezTo>
                  <a:lnTo>
                    <a:pt x="195653" y="25737"/>
                  </a:lnTo>
                  <a:cubicBezTo>
                    <a:pt x="201921" y="22927"/>
                    <a:pt x="208083" y="20974"/>
                    <a:pt x="217389" y="20974"/>
                  </a:cubicBezTo>
                  <a:close/>
                  <a:moveTo>
                    <a:pt x="786517" y="20879"/>
                  </a:moveTo>
                  <a:cubicBezTo>
                    <a:pt x="793661" y="20879"/>
                    <a:pt x="801442" y="23356"/>
                    <a:pt x="807500" y="27366"/>
                  </a:cubicBezTo>
                  <a:lnTo>
                    <a:pt x="802309" y="36662"/>
                  </a:lnTo>
                  <a:cubicBezTo>
                    <a:pt x="796794" y="33309"/>
                    <a:pt x="790946" y="31252"/>
                    <a:pt x="786202" y="31252"/>
                  </a:cubicBezTo>
                  <a:cubicBezTo>
                    <a:pt x="781116" y="31252"/>
                    <a:pt x="778201" y="33633"/>
                    <a:pt x="778201" y="36986"/>
                  </a:cubicBezTo>
                  <a:lnTo>
                    <a:pt x="778201" y="37195"/>
                  </a:lnTo>
                  <a:cubicBezTo>
                    <a:pt x="778201" y="41310"/>
                    <a:pt x="784364" y="43044"/>
                    <a:pt x="791070" y="45196"/>
                  </a:cubicBezTo>
                  <a:cubicBezTo>
                    <a:pt x="799404" y="47787"/>
                    <a:pt x="808805" y="51578"/>
                    <a:pt x="808805" y="61846"/>
                  </a:cubicBezTo>
                  <a:lnTo>
                    <a:pt x="808805" y="62065"/>
                  </a:lnTo>
                  <a:cubicBezTo>
                    <a:pt x="808777" y="74067"/>
                    <a:pt x="799480" y="80020"/>
                    <a:pt x="787593" y="80020"/>
                  </a:cubicBezTo>
                  <a:cubicBezTo>
                    <a:pt x="779478" y="80020"/>
                    <a:pt x="770505" y="77096"/>
                    <a:pt x="763371" y="71476"/>
                  </a:cubicBezTo>
                  <a:lnTo>
                    <a:pt x="769219" y="62608"/>
                  </a:lnTo>
                  <a:cubicBezTo>
                    <a:pt x="775382" y="67256"/>
                    <a:pt x="782088" y="69637"/>
                    <a:pt x="787917" y="69637"/>
                  </a:cubicBezTo>
                  <a:cubicBezTo>
                    <a:pt x="793546" y="69637"/>
                    <a:pt x="796785" y="67256"/>
                    <a:pt x="796785" y="63475"/>
                  </a:cubicBezTo>
                  <a:lnTo>
                    <a:pt x="796785" y="63256"/>
                  </a:lnTo>
                  <a:cubicBezTo>
                    <a:pt x="796785" y="58827"/>
                    <a:pt x="790727" y="57312"/>
                    <a:pt x="784031" y="55255"/>
                  </a:cubicBezTo>
                  <a:cubicBezTo>
                    <a:pt x="775592" y="52873"/>
                    <a:pt x="766190" y="49406"/>
                    <a:pt x="766190" y="38500"/>
                  </a:cubicBezTo>
                  <a:lnTo>
                    <a:pt x="766190" y="38281"/>
                  </a:lnTo>
                  <a:cubicBezTo>
                    <a:pt x="766190" y="27470"/>
                    <a:pt x="775163" y="20879"/>
                    <a:pt x="786517" y="20879"/>
                  </a:cubicBezTo>
                  <a:close/>
                  <a:moveTo>
                    <a:pt x="900989" y="20764"/>
                  </a:moveTo>
                  <a:lnTo>
                    <a:pt x="900989" y="34604"/>
                  </a:lnTo>
                  <a:lnTo>
                    <a:pt x="900237" y="34604"/>
                  </a:lnTo>
                  <a:cubicBezTo>
                    <a:pt x="888778" y="34604"/>
                    <a:pt x="880767" y="42062"/>
                    <a:pt x="880767" y="57197"/>
                  </a:cubicBezTo>
                  <a:lnTo>
                    <a:pt x="880767" y="78933"/>
                  </a:lnTo>
                  <a:lnTo>
                    <a:pt x="867680" y="78933"/>
                  </a:lnTo>
                  <a:lnTo>
                    <a:pt x="867680" y="21840"/>
                  </a:lnTo>
                  <a:lnTo>
                    <a:pt x="880767" y="21840"/>
                  </a:lnTo>
                  <a:lnTo>
                    <a:pt x="880767" y="34718"/>
                  </a:lnTo>
                  <a:cubicBezTo>
                    <a:pt x="884339" y="26174"/>
                    <a:pt x="890931" y="20336"/>
                    <a:pt x="900989" y="20764"/>
                  </a:cubicBezTo>
                  <a:close/>
                  <a:moveTo>
                    <a:pt x="397154" y="20764"/>
                  </a:moveTo>
                  <a:lnTo>
                    <a:pt x="397154" y="34604"/>
                  </a:lnTo>
                  <a:lnTo>
                    <a:pt x="396401" y="34604"/>
                  </a:lnTo>
                  <a:cubicBezTo>
                    <a:pt x="384943" y="34604"/>
                    <a:pt x="376932" y="42062"/>
                    <a:pt x="376932" y="57197"/>
                  </a:cubicBezTo>
                  <a:lnTo>
                    <a:pt x="376932" y="78933"/>
                  </a:lnTo>
                  <a:lnTo>
                    <a:pt x="363845" y="78933"/>
                  </a:lnTo>
                  <a:lnTo>
                    <a:pt x="363845" y="21840"/>
                  </a:lnTo>
                  <a:lnTo>
                    <a:pt x="376932" y="21840"/>
                  </a:lnTo>
                  <a:lnTo>
                    <a:pt x="376932" y="34718"/>
                  </a:lnTo>
                  <a:cubicBezTo>
                    <a:pt x="380504" y="26174"/>
                    <a:pt x="387095" y="20336"/>
                    <a:pt x="397154" y="20764"/>
                  </a:cubicBezTo>
                  <a:close/>
                  <a:moveTo>
                    <a:pt x="118815" y="20764"/>
                  </a:moveTo>
                  <a:lnTo>
                    <a:pt x="118815" y="34604"/>
                  </a:lnTo>
                  <a:lnTo>
                    <a:pt x="118062" y="34604"/>
                  </a:lnTo>
                  <a:cubicBezTo>
                    <a:pt x="106604" y="34604"/>
                    <a:pt x="98603" y="42062"/>
                    <a:pt x="98603" y="57197"/>
                  </a:cubicBezTo>
                  <a:lnTo>
                    <a:pt x="98603" y="78933"/>
                  </a:lnTo>
                  <a:lnTo>
                    <a:pt x="98593" y="78933"/>
                  </a:lnTo>
                  <a:lnTo>
                    <a:pt x="85506" y="78933"/>
                  </a:lnTo>
                  <a:lnTo>
                    <a:pt x="85506" y="21840"/>
                  </a:lnTo>
                  <a:lnTo>
                    <a:pt x="98593" y="21840"/>
                  </a:lnTo>
                  <a:lnTo>
                    <a:pt x="98593" y="34718"/>
                  </a:lnTo>
                  <a:cubicBezTo>
                    <a:pt x="102156" y="26174"/>
                    <a:pt x="108757" y="20336"/>
                    <a:pt x="118815" y="20764"/>
                  </a:cubicBezTo>
                  <a:close/>
                  <a:moveTo>
                    <a:pt x="702316" y="20650"/>
                  </a:moveTo>
                  <a:cubicBezTo>
                    <a:pt x="714756" y="20650"/>
                    <a:pt x="722319" y="28546"/>
                    <a:pt x="722319" y="42491"/>
                  </a:cubicBezTo>
                  <a:lnTo>
                    <a:pt x="722319" y="78933"/>
                  </a:lnTo>
                  <a:lnTo>
                    <a:pt x="709232" y="78933"/>
                  </a:lnTo>
                  <a:lnTo>
                    <a:pt x="709232" y="46491"/>
                  </a:lnTo>
                  <a:cubicBezTo>
                    <a:pt x="709232" y="37414"/>
                    <a:pt x="705021" y="32537"/>
                    <a:pt x="697659" y="32537"/>
                  </a:cubicBezTo>
                  <a:cubicBezTo>
                    <a:pt x="690524" y="32537"/>
                    <a:pt x="685438" y="37519"/>
                    <a:pt x="685438" y="46710"/>
                  </a:cubicBezTo>
                  <a:lnTo>
                    <a:pt x="685438" y="78933"/>
                  </a:lnTo>
                  <a:lnTo>
                    <a:pt x="672351" y="78933"/>
                  </a:lnTo>
                  <a:lnTo>
                    <a:pt x="672351" y="46387"/>
                  </a:lnTo>
                  <a:cubicBezTo>
                    <a:pt x="672351" y="37519"/>
                    <a:pt x="668026" y="32547"/>
                    <a:pt x="660778" y="32547"/>
                  </a:cubicBezTo>
                  <a:cubicBezTo>
                    <a:pt x="653539" y="32547"/>
                    <a:pt x="648557" y="37957"/>
                    <a:pt x="648557" y="46825"/>
                  </a:cubicBezTo>
                  <a:lnTo>
                    <a:pt x="648557" y="78943"/>
                  </a:lnTo>
                  <a:lnTo>
                    <a:pt x="635470" y="78943"/>
                  </a:lnTo>
                  <a:lnTo>
                    <a:pt x="635470" y="21850"/>
                  </a:lnTo>
                  <a:lnTo>
                    <a:pt x="648557" y="21850"/>
                  </a:lnTo>
                  <a:lnTo>
                    <a:pt x="648557" y="30499"/>
                  </a:lnTo>
                  <a:cubicBezTo>
                    <a:pt x="652244" y="25422"/>
                    <a:pt x="657206" y="20660"/>
                    <a:pt x="665969" y="20660"/>
                  </a:cubicBezTo>
                  <a:cubicBezTo>
                    <a:pt x="674189" y="20660"/>
                    <a:pt x="679923" y="24660"/>
                    <a:pt x="682943" y="30718"/>
                  </a:cubicBezTo>
                  <a:cubicBezTo>
                    <a:pt x="687610" y="24651"/>
                    <a:pt x="693668" y="20650"/>
                    <a:pt x="702316" y="20650"/>
                  </a:cubicBezTo>
                  <a:close/>
                  <a:moveTo>
                    <a:pt x="594436" y="20650"/>
                  </a:moveTo>
                  <a:cubicBezTo>
                    <a:pt x="612600" y="20650"/>
                    <a:pt x="621801" y="34918"/>
                    <a:pt x="621801" y="51473"/>
                  </a:cubicBezTo>
                  <a:cubicBezTo>
                    <a:pt x="621801" y="52664"/>
                    <a:pt x="621696" y="53740"/>
                    <a:pt x="621582" y="55035"/>
                  </a:cubicBezTo>
                  <a:lnTo>
                    <a:pt x="579624" y="55035"/>
                  </a:lnTo>
                  <a:cubicBezTo>
                    <a:pt x="581120" y="64332"/>
                    <a:pt x="587606" y="69523"/>
                    <a:pt x="596045" y="69523"/>
                  </a:cubicBezTo>
                  <a:cubicBezTo>
                    <a:pt x="602427" y="69523"/>
                    <a:pt x="606971" y="67142"/>
                    <a:pt x="611514" y="62712"/>
                  </a:cubicBezTo>
                  <a:lnTo>
                    <a:pt x="619191" y="69523"/>
                  </a:lnTo>
                  <a:cubicBezTo>
                    <a:pt x="613781" y="76019"/>
                    <a:pt x="606323" y="80229"/>
                    <a:pt x="595836" y="80229"/>
                  </a:cubicBezTo>
                  <a:cubicBezTo>
                    <a:pt x="579291" y="80229"/>
                    <a:pt x="566537" y="68227"/>
                    <a:pt x="566537" y="50492"/>
                  </a:cubicBezTo>
                  <a:cubicBezTo>
                    <a:pt x="566537" y="34052"/>
                    <a:pt x="578100" y="20650"/>
                    <a:pt x="594436" y="20650"/>
                  </a:cubicBezTo>
                  <a:close/>
                  <a:moveTo>
                    <a:pt x="467410" y="20650"/>
                  </a:moveTo>
                  <a:cubicBezTo>
                    <a:pt x="478221" y="20650"/>
                    <a:pt x="484927" y="24651"/>
                    <a:pt x="490223" y="30489"/>
                  </a:cubicBezTo>
                  <a:lnTo>
                    <a:pt x="482117" y="39252"/>
                  </a:lnTo>
                  <a:cubicBezTo>
                    <a:pt x="478116" y="35033"/>
                    <a:pt x="473897" y="32109"/>
                    <a:pt x="467296" y="32109"/>
                  </a:cubicBezTo>
                  <a:cubicBezTo>
                    <a:pt x="457781" y="32109"/>
                    <a:pt x="450856" y="40329"/>
                    <a:pt x="450856" y="50378"/>
                  </a:cubicBezTo>
                  <a:cubicBezTo>
                    <a:pt x="450856" y="60655"/>
                    <a:pt x="457885" y="68866"/>
                    <a:pt x="467944" y="68866"/>
                  </a:cubicBezTo>
                  <a:cubicBezTo>
                    <a:pt x="474106" y="68866"/>
                    <a:pt x="478650" y="65951"/>
                    <a:pt x="482765" y="61722"/>
                  </a:cubicBezTo>
                  <a:lnTo>
                    <a:pt x="490661" y="69504"/>
                  </a:lnTo>
                  <a:cubicBezTo>
                    <a:pt x="485041" y="75800"/>
                    <a:pt x="478450" y="80229"/>
                    <a:pt x="467306" y="80229"/>
                  </a:cubicBezTo>
                  <a:cubicBezTo>
                    <a:pt x="450332" y="80229"/>
                    <a:pt x="437778" y="66932"/>
                    <a:pt x="437778" y="50606"/>
                  </a:cubicBezTo>
                  <a:cubicBezTo>
                    <a:pt x="437778" y="34280"/>
                    <a:pt x="450322" y="20650"/>
                    <a:pt x="467410" y="20650"/>
                  </a:cubicBezTo>
                  <a:close/>
                  <a:moveTo>
                    <a:pt x="324402" y="20650"/>
                  </a:moveTo>
                  <a:cubicBezTo>
                    <a:pt x="342566" y="20650"/>
                    <a:pt x="351767" y="34918"/>
                    <a:pt x="351767" y="51473"/>
                  </a:cubicBezTo>
                  <a:cubicBezTo>
                    <a:pt x="351767" y="52664"/>
                    <a:pt x="351662" y="53740"/>
                    <a:pt x="351548" y="55035"/>
                  </a:cubicBezTo>
                  <a:lnTo>
                    <a:pt x="309590" y="55035"/>
                  </a:lnTo>
                  <a:cubicBezTo>
                    <a:pt x="311105" y="64332"/>
                    <a:pt x="317591" y="69523"/>
                    <a:pt x="326021" y="69523"/>
                  </a:cubicBezTo>
                  <a:cubicBezTo>
                    <a:pt x="332403" y="69523"/>
                    <a:pt x="336946" y="67142"/>
                    <a:pt x="341490" y="62712"/>
                  </a:cubicBezTo>
                  <a:lnTo>
                    <a:pt x="349167" y="69523"/>
                  </a:lnTo>
                  <a:cubicBezTo>
                    <a:pt x="343757" y="76019"/>
                    <a:pt x="336298" y="80229"/>
                    <a:pt x="325811" y="80229"/>
                  </a:cubicBezTo>
                  <a:cubicBezTo>
                    <a:pt x="309267" y="80229"/>
                    <a:pt x="296503" y="68227"/>
                    <a:pt x="296503" y="50492"/>
                  </a:cubicBezTo>
                  <a:cubicBezTo>
                    <a:pt x="296503" y="34052"/>
                    <a:pt x="308076" y="20650"/>
                    <a:pt x="324402" y="20650"/>
                  </a:cubicBezTo>
                  <a:close/>
                  <a:moveTo>
                    <a:pt x="153505" y="20650"/>
                  </a:moveTo>
                  <a:cubicBezTo>
                    <a:pt x="171669" y="20650"/>
                    <a:pt x="180861" y="34918"/>
                    <a:pt x="180861" y="51473"/>
                  </a:cubicBezTo>
                  <a:cubicBezTo>
                    <a:pt x="180861" y="52664"/>
                    <a:pt x="180756" y="53740"/>
                    <a:pt x="180641" y="55035"/>
                  </a:cubicBezTo>
                  <a:lnTo>
                    <a:pt x="138684" y="55035"/>
                  </a:lnTo>
                  <a:cubicBezTo>
                    <a:pt x="140208" y="64332"/>
                    <a:pt x="146694" y="69523"/>
                    <a:pt x="155124" y="69523"/>
                  </a:cubicBezTo>
                  <a:cubicBezTo>
                    <a:pt x="161506" y="69523"/>
                    <a:pt x="166049" y="67142"/>
                    <a:pt x="170593" y="62712"/>
                  </a:cubicBezTo>
                  <a:lnTo>
                    <a:pt x="178270" y="69523"/>
                  </a:lnTo>
                  <a:cubicBezTo>
                    <a:pt x="172860" y="76019"/>
                    <a:pt x="165401" y="80229"/>
                    <a:pt x="154914" y="80229"/>
                  </a:cubicBezTo>
                  <a:cubicBezTo>
                    <a:pt x="138370" y="80229"/>
                    <a:pt x="125606" y="68227"/>
                    <a:pt x="125606" y="50492"/>
                  </a:cubicBezTo>
                  <a:cubicBezTo>
                    <a:pt x="125606" y="34052"/>
                    <a:pt x="137179" y="20650"/>
                    <a:pt x="153505" y="20650"/>
                  </a:cubicBezTo>
                  <a:close/>
                  <a:moveTo>
                    <a:pt x="824760" y="6163"/>
                  </a:moveTo>
                  <a:lnTo>
                    <a:pt x="837847" y="6163"/>
                  </a:lnTo>
                  <a:lnTo>
                    <a:pt x="837847" y="21841"/>
                  </a:lnTo>
                  <a:lnTo>
                    <a:pt x="853201" y="21841"/>
                  </a:lnTo>
                  <a:lnTo>
                    <a:pt x="853201" y="33090"/>
                  </a:lnTo>
                  <a:lnTo>
                    <a:pt x="837847" y="33090"/>
                  </a:lnTo>
                  <a:lnTo>
                    <a:pt x="837847" y="61094"/>
                  </a:lnTo>
                  <a:cubicBezTo>
                    <a:pt x="837847" y="66180"/>
                    <a:pt x="840438" y="68237"/>
                    <a:pt x="844876" y="68237"/>
                  </a:cubicBezTo>
                  <a:cubicBezTo>
                    <a:pt x="847791" y="68237"/>
                    <a:pt x="850382" y="67590"/>
                    <a:pt x="852982" y="66285"/>
                  </a:cubicBezTo>
                  <a:lnTo>
                    <a:pt x="852982" y="77000"/>
                  </a:lnTo>
                  <a:cubicBezTo>
                    <a:pt x="849734" y="78829"/>
                    <a:pt x="846057" y="79915"/>
                    <a:pt x="841190" y="79915"/>
                  </a:cubicBezTo>
                  <a:cubicBezTo>
                    <a:pt x="831570" y="79915"/>
                    <a:pt x="824760" y="75696"/>
                    <a:pt x="824760" y="63161"/>
                  </a:cubicBezTo>
                  <a:lnTo>
                    <a:pt x="824760" y="33100"/>
                  </a:lnTo>
                  <a:lnTo>
                    <a:pt x="817511" y="33100"/>
                  </a:lnTo>
                  <a:lnTo>
                    <a:pt x="817511" y="21851"/>
                  </a:lnTo>
                  <a:lnTo>
                    <a:pt x="824760" y="21851"/>
                  </a:lnTo>
                  <a:close/>
                  <a:moveTo>
                    <a:pt x="259652" y="6163"/>
                  </a:moveTo>
                  <a:lnTo>
                    <a:pt x="272739" y="6163"/>
                  </a:lnTo>
                  <a:lnTo>
                    <a:pt x="272739" y="21841"/>
                  </a:lnTo>
                  <a:lnTo>
                    <a:pt x="288093" y="21841"/>
                  </a:lnTo>
                  <a:lnTo>
                    <a:pt x="288093" y="33090"/>
                  </a:lnTo>
                  <a:lnTo>
                    <a:pt x="272739" y="33090"/>
                  </a:lnTo>
                  <a:lnTo>
                    <a:pt x="272739" y="61094"/>
                  </a:lnTo>
                  <a:lnTo>
                    <a:pt x="272729" y="61094"/>
                  </a:lnTo>
                  <a:cubicBezTo>
                    <a:pt x="272729" y="66180"/>
                    <a:pt x="275320" y="68237"/>
                    <a:pt x="279759" y="68237"/>
                  </a:cubicBezTo>
                  <a:cubicBezTo>
                    <a:pt x="282683" y="68237"/>
                    <a:pt x="285274" y="67590"/>
                    <a:pt x="287865" y="66285"/>
                  </a:cubicBezTo>
                  <a:lnTo>
                    <a:pt x="287865" y="77000"/>
                  </a:lnTo>
                  <a:cubicBezTo>
                    <a:pt x="284626" y="78829"/>
                    <a:pt x="280940" y="79915"/>
                    <a:pt x="276082" y="79915"/>
                  </a:cubicBezTo>
                  <a:cubicBezTo>
                    <a:pt x="266462" y="79915"/>
                    <a:pt x="259652" y="75696"/>
                    <a:pt x="259652" y="63161"/>
                  </a:cubicBezTo>
                  <a:lnTo>
                    <a:pt x="259652" y="33100"/>
                  </a:lnTo>
                  <a:lnTo>
                    <a:pt x="252403" y="33100"/>
                  </a:lnTo>
                  <a:lnTo>
                    <a:pt x="252403" y="21851"/>
                  </a:lnTo>
                  <a:lnTo>
                    <a:pt x="259652" y="21851"/>
                  </a:lnTo>
                  <a:close/>
                  <a:moveTo>
                    <a:pt x="39043" y="1943"/>
                  </a:moveTo>
                  <a:cubicBezTo>
                    <a:pt x="52235" y="1943"/>
                    <a:pt x="60341" y="5629"/>
                    <a:pt x="68132" y="12220"/>
                  </a:cubicBezTo>
                  <a:lnTo>
                    <a:pt x="59703" y="22279"/>
                  </a:lnTo>
                  <a:cubicBezTo>
                    <a:pt x="53864" y="17297"/>
                    <a:pt x="48130" y="14164"/>
                    <a:pt x="38510" y="14164"/>
                  </a:cubicBezTo>
                  <a:cubicBezTo>
                    <a:pt x="24565" y="14164"/>
                    <a:pt x="13964" y="26270"/>
                    <a:pt x="13964" y="40976"/>
                  </a:cubicBezTo>
                  <a:cubicBezTo>
                    <a:pt x="13964" y="56655"/>
                    <a:pt x="24232" y="68123"/>
                    <a:pt x="39700" y="68123"/>
                  </a:cubicBezTo>
                  <a:cubicBezTo>
                    <a:pt x="46844" y="68123"/>
                    <a:pt x="53331" y="65856"/>
                    <a:pt x="57979" y="62398"/>
                  </a:cubicBezTo>
                  <a:lnTo>
                    <a:pt x="57979" y="48225"/>
                  </a:lnTo>
                  <a:lnTo>
                    <a:pt x="38624" y="48225"/>
                  </a:lnTo>
                  <a:lnTo>
                    <a:pt x="38624" y="36652"/>
                  </a:lnTo>
                  <a:lnTo>
                    <a:pt x="70847" y="36652"/>
                  </a:lnTo>
                  <a:lnTo>
                    <a:pt x="70847" y="68447"/>
                  </a:lnTo>
                  <a:cubicBezTo>
                    <a:pt x="63370" y="74819"/>
                    <a:pt x="52664" y="80229"/>
                    <a:pt x="39253" y="80229"/>
                  </a:cubicBezTo>
                  <a:cubicBezTo>
                    <a:pt x="15573" y="80229"/>
                    <a:pt x="0" y="63360"/>
                    <a:pt x="0" y="41196"/>
                  </a:cubicBezTo>
                  <a:cubicBezTo>
                    <a:pt x="0" y="19898"/>
                    <a:pt x="16221" y="1943"/>
                    <a:pt x="39043" y="1943"/>
                  </a:cubicBezTo>
                  <a:close/>
                  <a:moveTo>
                    <a:pt x="737854" y="648"/>
                  </a:moveTo>
                  <a:lnTo>
                    <a:pt x="751913" y="648"/>
                  </a:lnTo>
                  <a:lnTo>
                    <a:pt x="751913" y="13088"/>
                  </a:lnTo>
                  <a:lnTo>
                    <a:pt x="737854" y="13088"/>
                  </a:lnTo>
                  <a:close/>
                  <a:moveTo>
                    <a:pt x="502101" y="0"/>
                  </a:moveTo>
                  <a:lnTo>
                    <a:pt x="515188" y="0"/>
                  </a:lnTo>
                  <a:lnTo>
                    <a:pt x="515188" y="30709"/>
                  </a:lnTo>
                  <a:cubicBezTo>
                    <a:pt x="518874" y="25298"/>
                    <a:pt x="524170" y="20650"/>
                    <a:pt x="533029" y="20650"/>
                  </a:cubicBezTo>
                  <a:cubicBezTo>
                    <a:pt x="545897" y="20650"/>
                    <a:pt x="553365" y="29299"/>
                    <a:pt x="553365" y="42596"/>
                  </a:cubicBezTo>
                  <a:lnTo>
                    <a:pt x="553365" y="78934"/>
                  </a:lnTo>
                  <a:lnTo>
                    <a:pt x="540277" y="78934"/>
                  </a:lnTo>
                  <a:lnTo>
                    <a:pt x="540277" y="46492"/>
                  </a:lnTo>
                  <a:cubicBezTo>
                    <a:pt x="540277" y="37624"/>
                    <a:pt x="535839" y="32537"/>
                    <a:pt x="528057" y="32537"/>
                  </a:cubicBezTo>
                  <a:cubicBezTo>
                    <a:pt x="520484" y="32537"/>
                    <a:pt x="515179" y="37833"/>
                    <a:pt x="515179" y="46711"/>
                  </a:cubicBezTo>
                  <a:lnTo>
                    <a:pt x="515179" y="78934"/>
                  </a:lnTo>
                  <a:lnTo>
                    <a:pt x="502101" y="78934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89354709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1" y="762916"/>
            <a:ext cx="11328200" cy="93789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99" y="1745009"/>
            <a:ext cx="11328001" cy="4679604"/>
          </a:xfrm>
        </p:spPr>
        <p:txBody>
          <a:bodyPr/>
          <a:lstStyle>
            <a:lvl1pPr marL="216000">
              <a:defRPr/>
            </a:lvl1pPr>
            <a:lvl2pPr>
              <a:defRPr/>
            </a:lvl2pPr>
            <a:lvl5pPr marL="1152000">
              <a:lnSpc>
                <a:spcPct val="113000"/>
              </a:lnSpc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riant Sasol Catalyst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7A716-9E6A-4FB4-B6D4-08E343CE26C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65817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2999DE-6E04-4F75-9A3B-9287C990D6D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A0280D7-776E-4DF7-B2B2-62793D5C0A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1" y="1745009"/>
            <a:ext cx="5447700" cy="4679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C86EF38-7FED-4B72-BE23-B456A04A222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2298" y="1745009"/>
            <a:ext cx="5447701" cy="4679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7609650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  <p15:guide id="2" pos="39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4C4977-C9C8-43A3-8C81-5A4965BB8B7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1243C09-310E-4FB8-ACB1-120A0228FA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999" y="1745008"/>
            <a:ext cx="11328000" cy="4679604"/>
          </a:xfrm>
        </p:spPr>
        <p:txBody>
          <a:bodyPr/>
          <a:lstStyle>
            <a:lvl1pPr marL="21600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12223787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Text" preserve="1" userDrawn="1">
  <p:cSld name="Tw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BC1D4-0C48-4BD5-9961-458D8FE1533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16DE6FA-2192-4635-B210-A2766FE2FB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1" y="1745009"/>
            <a:ext cx="5447700" cy="4679604"/>
          </a:xfrm>
        </p:spPr>
        <p:txBody>
          <a:bodyPr/>
          <a:lstStyle>
            <a:lvl1pPr marL="21600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BC9CEC4-A80E-42B3-B815-6398DAE8EB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2299" y="1745009"/>
            <a:ext cx="5447701" cy="4679604"/>
          </a:xfrm>
        </p:spPr>
        <p:txBody>
          <a:bodyPr/>
          <a:lstStyle>
            <a:lvl1pPr marL="216000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182171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05" userDrawn="1">
          <p15:clr>
            <a:srgbClr val="FBAE40"/>
          </p15:clr>
        </p15:guide>
        <p15:guide id="2" pos="397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E08608-6CFF-4384-AD58-8ED1184E128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4099890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13551B-17A3-47B4-883C-867F1BF4A3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59278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13551B-17A3-47B4-883C-867F1BF4A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Placeholder"/>
          <p:cNvSpPr>
            <a:spLocks noGrp="1"/>
          </p:cNvSpPr>
          <p:nvPr>
            <p:ph type="title"/>
          </p:nvPr>
        </p:nvSpPr>
        <p:spPr>
          <a:xfrm>
            <a:off x="431801" y="762916"/>
            <a:ext cx="11328200" cy="9378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noProof="0" dirty="0"/>
          </a:p>
        </p:txBody>
      </p:sp>
      <p:sp>
        <p:nvSpPr>
          <p:cNvPr id="3" name="ContentPlaceholder"/>
          <p:cNvSpPr>
            <a:spLocks noGrp="1"/>
          </p:cNvSpPr>
          <p:nvPr>
            <p:ph type="body" idx="1"/>
          </p:nvPr>
        </p:nvSpPr>
        <p:spPr>
          <a:xfrm>
            <a:off x="432000" y="1745009"/>
            <a:ext cx="11328000" cy="4679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Paragraph Arial Regular 17</a:t>
            </a:r>
          </a:p>
          <a:p>
            <a:pPr lvl="1"/>
            <a:r>
              <a:rPr lang="en-GB" noProof="0" dirty="0"/>
              <a:t>Paragraph Arial Regular</a:t>
            </a:r>
          </a:p>
          <a:p>
            <a:pPr lvl="2"/>
            <a:r>
              <a:rPr lang="en-GB" noProof="0" dirty="0"/>
              <a:t>Paragraph Arial Regular</a:t>
            </a:r>
          </a:p>
          <a:p>
            <a:pPr lvl="3"/>
            <a:r>
              <a:rPr lang="en-GB" noProof="0" dirty="0"/>
              <a:t>Paragraph Arial Regular</a:t>
            </a:r>
          </a:p>
          <a:p>
            <a:pPr lvl="4"/>
            <a:r>
              <a:rPr lang="en-GB" noProof="0" dirty="0"/>
              <a:t>Paragraph Arial Regular</a:t>
            </a:r>
          </a:p>
        </p:txBody>
      </p:sp>
      <p:sp>
        <p:nvSpPr>
          <p:cNvPr id="6" name="SlideNumber"/>
          <p:cNvSpPr>
            <a:spLocks noGrp="1"/>
          </p:cNvSpPr>
          <p:nvPr>
            <p:ph type="sldNum" sz="quarter" idx="4"/>
          </p:nvPr>
        </p:nvSpPr>
        <p:spPr>
          <a:xfrm>
            <a:off x="215999" y="197065"/>
            <a:ext cx="180000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ADE1D69B-D85B-461B-9C8C-35629713AF7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0" name="AdditionalFooter">
            <a:extLst>
              <a:ext uri="{FF2B5EF4-FFF2-40B4-BE49-F238E27FC236}">
                <a16:creationId xmlns:a16="http://schemas.microsoft.com/office/drawing/2014/main" id="{D740B2AE-53E6-4D17-B4D6-716B161FA9B0}"/>
              </a:ext>
            </a:extLst>
          </p:cNvPr>
          <p:cNvSpPr txBox="1">
            <a:spLocks/>
          </p:cNvSpPr>
          <p:nvPr userDrawn="1">
            <p:custDataLst>
              <p:tags r:id="rId18"/>
            </p:custDataLst>
          </p:nvPr>
        </p:nvSpPr>
        <p:spPr>
          <a:xfrm>
            <a:off x="431800" y="302472"/>
            <a:ext cx="7560000" cy="107722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700">
                <a:latin typeface="Georgia" pitchFamily="18" charset="0"/>
              </a:defRPr>
            </a:lvl1pPr>
          </a:lstStyle>
          <a:p>
            <a:pPr lvl="0"/>
            <a:r>
              <a:rPr lang="fr-FR">
                <a:solidFill>
                  <a:srgbClr val="000000"/>
                </a:solidFill>
                <a:latin typeface="+mj-lt"/>
              </a:rPr>
              <a:t>Greg Crymble, 01.02.2023</a:t>
            </a:r>
            <a:endParaRPr lang="de-DE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431801" y="197065"/>
            <a:ext cx="7560000" cy="10772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ariant Sasol Catalysts</a:t>
            </a: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0B8606E4-9003-4567-80A0-37E07858BB13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 bwMode="gray">
          <a:xfrm>
            <a:off x="11760197" y="215635"/>
            <a:ext cx="216000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062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66" r:id="rId3"/>
    <p:sldLayoutId id="2147483651" r:id="rId4"/>
    <p:sldLayoutId id="2147483650" r:id="rId5"/>
    <p:sldLayoutId id="2147483652" r:id="rId6"/>
    <p:sldLayoutId id="2147483660" r:id="rId7"/>
    <p:sldLayoutId id="2147483661" r:id="rId8"/>
    <p:sldLayoutId id="2147483654" r:id="rId9"/>
    <p:sldLayoutId id="2147483671" r:id="rId10"/>
    <p:sldLayoutId id="2147483663" r:id="rId11"/>
    <p:sldLayoutId id="2147483664" r:id="rId12"/>
    <p:sldLayoutId id="2147483655" r:id="rId13"/>
    <p:sldLayoutId id="2147483662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-216000" algn="l" defTabSz="914400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468000" indent="-216000" algn="l" defTabSz="914400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684000" indent="-216000" algn="l" defTabSz="914400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936000" indent="-216000" algn="l" defTabSz="914400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152000" indent="-180975" algn="l" defTabSz="914400" rtl="0" eaLnBrk="1" latinLnBrk="0" hangingPunct="1">
        <a:lnSpc>
          <a:spcPct val="113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08" userDrawn="1">
          <p15:clr>
            <a:srgbClr val="F26B43"/>
          </p15:clr>
        </p15:guide>
        <p15:guide id="2" orient="horz" pos="270" userDrawn="1">
          <p15:clr>
            <a:srgbClr val="F26B43"/>
          </p15:clr>
        </p15:guide>
        <p15:guide id="3" pos="272" userDrawn="1">
          <p15:clr>
            <a:srgbClr val="F26B43"/>
          </p15:clr>
        </p15:guide>
        <p15:guide id="6" orient="horz" pos="4049" userDrawn="1">
          <p15:clr>
            <a:srgbClr val="F26B43"/>
          </p15:clr>
        </p15:guide>
        <p15:guide id="7" orient="horz" pos="10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71A594-9793-46A0-8A82-72B40BDE1D9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760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71A594-9793-46A0-8A82-72B40BDE1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4A5CE983-3DF6-4DB7-A68E-7B4B626062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800" y="3320988"/>
            <a:ext cx="5664200" cy="2096761"/>
          </a:xfrm>
        </p:spPr>
        <p:txBody>
          <a:bodyPr>
            <a:noAutofit/>
          </a:bodyPr>
          <a:lstStyle/>
          <a:p>
            <a:r>
              <a:rPr lang="en-GB" dirty="0"/>
              <a:t>SPA PolyMax catalyst manufacturing process</a:t>
            </a:r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F6CE02-DAE3-43B4-BF65-C7940B3E6A5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/>
              <a:t>Clariant Sasol Catalys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27180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8AD126-D1BE-4EB7-AB20-099CD342F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DC59C2-93B0-9382-2C5D-8F5E79AE8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EA97B-D698-4E1F-9D50-7E72A5ACE05B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49ADEF-DB7C-C552-B488-3BF56095B0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896117"/>
            <a:ext cx="10441159" cy="5401001"/>
          </a:xfrm>
          <a:prstGeom prst="rect">
            <a:avLst/>
          </a:prstGeom>
        </p:spPr>
      </p:pic>
      <p:sp>
        <p:nvSpPr>
          <p:cNvPr id="6" name="Text Box 51">
            <a:extLst>
              <a:ext uri="{FF2B5EF4-FFF2-40B4-BE49-F238E27FC236}">
                <a16:creationId xmlns:a16="http://schemas.microsoft.com/office/drawing/2014/main" id="{E1D26A37-B152-6765-CCC2-025198F5EE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9576" y="227514"/>
            <a:ext cx="780824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800" b="1" dirty="0"/>
              <a:t>Raw material 1 – Polyphosphoric Acid (PPA)</a:t>
            </a:r>
          </a:p>
        </p:txBody>
      </p:sp>
    </p:spTree>
    <p:extLst>
      <p:ext uri="{BB962C8B-B14F-4D97-AF65-F5344CB8AC3E}">
        <p14:creationId xmlns:p14="http://schemas.microsoft.com/office/powerpoint/2010/main" val="3805528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5F4BE1-EC32-DBEC-FF18-71F1861A1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A81EA4-BA21-7EDE-80C6-6BF6702B4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EA97B-D698-4E1F-9D50-7E72A5ACE05B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50E126-8415-F51E-7CE2-B6F179E532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782" y="944434"/>
            <a:ext cx="11337824" cy="4860830"/>
          </a:xfrm>
          <a:prstGeom prst="rect">
            <a:avLst/>
          </a:prstGeom>
        </p:spPr>
      </p:pic>
      <p:sp>
        <p:nvSpPr>
          <p:cNvPr id="6" name="Text Box 51">
            <a:extLst>
              <a:ext uri="{FF2B5EF4-FFF2-40B4-BE49-F238E27FC236}">
                <a16:creationId xmlns:a16="http://schemas.microsoft.com/office/drawing/2014/main" id="{44EC02B9-F4BB-35C3-D07D-441C36D872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9676" y="227514"/>
            <a:ext cx="690814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800" b="1" dirty="0"/>
              <a:t>Raw material 2 – Kieselguhr (Guhr)</a:t>
            </a:r>
          </a:p>
        </p:txBody>
      </p:sp>
    </p:spTree>
    <p:extLst>
      <p:ext uri="{BB962C8B-B14F-4D97-AF65-F5344CB8AC3E}">
        <p14:creationId xmlns:p14="http://schemas.microsoft.com/office/powerpoint/2010/main" val="2626235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535EB-0057-4EB1-19F4-E4E5A94DF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lariant Sasol Catalysts</a:t>
            </a:r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C8B379-5811-CD9E-8877-F381F28CEF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0EA97B-D698-4E1F-9D50-7E72A5ACE05B}" type="slidenum">
              <a:rPr lang="en-GB" smtClean="0"/>
              <a:pPr/>
              <a:t>4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245E08-B38B-527A-A1A8-B8FAFA1CE8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412776"/>
            <a:ext cx="9821861" cy="5062815"/>
          </a:xfrm>
          <a:prstGeom prst="rect">
            <a:avLst/>
          </a:prstGeom>
        </p:spPr>
      </p:pic>
      <p:sp>
        <p:nvSpPr>
          <p:cNvPr id="6" name="Text Box 51">
            <a:extLst>
              <a:ext uri="{FF2B5EF4-FFF2-40B4-BE49-F238E27FC236}">
                <a16:creationId xmlns:a16="http://schemas.microsoft.com/office/drawing/2014/main" id="{84B49CCA-5FAF-299F-D73E-03A29BB37A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7748" y="395288"/>
            <a:ext cx="564234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800" b="1" dirty="0"/>
              <a:t>Process Flow</a:t>
            </a:r>
          </a:p>
        </p:txBody>
      </p:sp>
    </p:spTree>
    <p:extLst>
      <p:ext uri="{BB962C8B-B14F-4D97-AF65-F5344CB8AC3E}">
        <p14:creationId xmlns:p14="http://schemas.microsoft.com/office/powerpoint/2010/main" val="2707225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77DD9-A913-4BE3-87D8-A4C5CE710370}" type="slidenum">
              <a:rPr lang="en-US" smtClean="0"/>
              <a:t>5</a:t>
            </a:fld>
            <a:endParaRPr lang="en-US" dirty="0"/>
          </a:p>
        </p:txBody>
      </p:sp>
      <p:sp>
        <p:nvSpPr>
          <p:cNvPr id="4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8775" y="152637"/>
            <a:ext cx="7609433" cy="144016"/>
          </a:xfrm>
        </p:spPr>
        <p:txBody>
          <a:bodyPr/>
          <a:lstStyle/>
          <a:p>
            <a:r>
              <a:rPr lang="en-GB" noProof="0"/>
              <a:t>Clariant Sasol Catalysts</a:t>
            </a:r>
            <a:endParaRPr lang="en-GB" noProof="0" dirty="0"/>
          </a:p>
        </p:txBody>
      </p:sp>
      <p:sp>
        <p:nvSpPr>
          <p:cNvPr id="51" name="Text Box 51">
            <a:extLst>
              <a:ext uri="{FF2B5EF4-FFF2-40B4-BE49-F238E27FC236}">
                <a16:creationId xmlns:a16="http://schemas.microsoft.com/office/drawing/2014/main" id="{BD34786D-8DC0-45DC-866E-479A1C5670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68375" y="52166"/>
            <a:ext cx="564234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800" b="1" dirty="0"/>
              <a:t>Process Flo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7D1CFD-3856-4E39-9F56-CA5539116C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1700808"/>
            <a:ext cx="11754686" cy="388843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22EEACE-2976-9C99-74C8-D7CA1773D52B}"/>
              </a:ext>
            </a:extLst>
          </p:cNvPr>
          <p:cNvSpPr/>
          <p:nvPr/>
        </p:nvSpPr>
        <p:spPr>
          <a:xfrm>
            <a:off x="7957707" y="5611890"/>
            <a:ext cx="1398500" cy="756084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US" sz="1700" dirty="0" err="1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A6DC92-A560-D4DB-1ABF-0C6AFBF8229B}"/>
              </a:ext>
            </a:extLst>
          </p:cNvPr>
          <p:cNvSpPr txBox="1"/>
          <p:nvPr/>
        </p:nvSpPr>
        <p:spPr>
          <a:xfrm>
            <a:off x="8024059" y="5634540"/>
            <a:ext cx="1332148" cy="7334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3000"/>
              </a:lnSpc>
            </a:pPr>
            <a:r>
              <a:rPr lang="en-US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Guhr and phosphoric acid byproduc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0C7E801-9352-DE59-6A15-D932F4291451}"/>
              </a:ext>
            </a:extLst>
          </p:cNvPr>
          <p:cNvCxnSpPr/>
          <p:nvPr/>
        </p:nvCxnSpPr>
        <p:spPr>
          <a:xfrm>
            <a:off x="8256240" y="5157192"/>
            <a:ext cx="0" cy="43204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7042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THEME" val="10"/>
  <p:tag name="LANGUAGE" val="2057"/>
  <p:tag name="TITLECOLORTHEME" val="1"/>
  <p:tag name="VERSINFO" val="CLARIANT6004"/>
  <p:tag name="THINKCELLUNDODONOTDELETE" val="0"/>
  <p:tag name="FOOTER1" val="Greg Crymble"/>
  <p:tag name="DATE" val="01.02.2023"/>
  <p:tag name="PRESENTATIONTITLE" val="Clariant Sasol Catalyst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IMVERSION" val="2022-1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IMVERSION" val="2022-1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IMVERSION" val="2022-1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Da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riantFooter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IMVERSION" val="2022-10"/>
</p:tagLst>
</file>

<file path=ppt/theme/theme1.xml><?xml version="1.0" encoding="utf-8"?>
<a:theme xmlns:a="http://schemas.openxmlformats.org/drawingml/2006/main" name="Clariant">
  <a:themeElements>
    <a:clrScheme name="Clariant - Color Theme 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CCCCC"/>
      </a:accent1>
      <a:accent2>
        <a:srgbClr val="666666"/>
      </a:accent2>
      <a:accent3>
        <a:srgbClr val="000000"/>
      </a:accent3>
      <a:accent4>
        <a:srgbClr val="2655FF"/>
      </a:accent4>
      <a:accent5>
        <a:srgbClr val="99D6FF"/>
      </a:accent5>
      <a:accent6>
        <a:srgbClr val="2EE5DB"/>
      </a:accent6>
      <a:hlink>
        <a:srgbClr val="2655FF"/>
      </a:hlink>
      <a:folHlink>
        <a:srgbClr val="6F2D80"/>
      </a:folHlink>
    </a:clrScheme>
    <a:fontScheme name="Claria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105000"/>
          </a:lnSpc>
          <a:defRPr sz="1700" dirty="0" err="1">
            <a:solidFill>
              <a:schemeClr val="tx2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16000" indent="-216000" algn="l">
          <a:lnSpc>
            <a:spcPct val="113000"/>
          </a:lnSpc>
          <a:buFont typeface="Arial" panose="020B0604020202020204" pitchFamily="34" charset="0"/>
          <a:buChar char="–"/>
          <a:defRPr sz="17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Clariant - Color Theme 1">
        <a:dk1>
          <a:sysClr val="windowText" lastClr="000000"/>
        </a:dk1>
        <a:lt1>
          <a:sysClr val="window" lastClr="FFFFFF"/>
        </a:lt1>
        <a:dk2>
          <a:srgbClr val="000000"/>
        </a:dk2>
        <a:lt2>
          <a:srgbClr val="FFFFFF"/>
        </a:lt2>
        <a:accent1>
          <a:srgbClr val="CCCCCC"/>
        </a:accent1>
        <a:accent2>
          <a:srgbClr val="666666"/>
        </a:accent2>
        <a:accent3>
          <a:srgbClr val="000000"/>
        </a:accent3>
        <a:accent4>
          <a:srgbClr val="2655FF"/>
        </a:accent4>
        <a:accent5>
          <a:srgbClr val="99D6FF"/>
        </a:accent5>
        <a:accent6>
          <a:srgbClr val="2EE5DB"/>
        </a:accent6>
        <a:hlink>
          <a:srgbClr val="2655FF"/>
        </a:hlink>
        <a:folHlink>
          <a:srgbClr val="6F2D80"/>
        </a:folHlink>
      </a:clrScheme>
    </a:extraClrScheme>
    <a:extraClrScheme>
      <a:clrScheme name="Clariant - Color Theme 2">
        <a:dk1>
          <a:sysClr val="windowText" lastClr="000000"/>
        </a:dk1>
        <a:lt1>
          <a:sysClr val="window" lastClr="FFFFFF"/>
        </a:lt1>
        <a:dk2>
          <a:srgbClr val="FFFFFF"/>
        </a:dk2>
        <a:lt2>
          <a:srgbClr val="000000"/>
        </a:lt2>
        <a:accent1>
          <a:srgbClr val="CCCCCC"/>
        </a:accent1>
        <a:accent2>
          <a:srgbClr val="666666"/>
        </a:accent2>
        <a:accent3>
          <a:srgbClr val="000000"/>
        </a:accent3>
        <a:accent4>
          <a:srgbClr val="2655FF"/>
        </a:accent4>
        <a:accent5>
          <a:srgbClr val="99D6FF"/>
        </a:accent5>
        <a:accent6>
          <a:srgbClr val="2EE5DB"/>
        </a:accent6>
        <a:hlink>
          <a:srgbClr val="2655FF"/>
        </a:hlink>
        <a:folHlink>
          <a:srgbClr val="6F2D80"/>
        </a:folHlink>
      </a:clrScheme>
    </a:extraClrScheme>
    <a:extraClrScheme>
      <a:clrScheme name="Clariant - Color Theme 3">
        <a:dk1>
          <a:sysClr val="windowText" lastClr="000000"/>
        </a:dk1>
        <a:lt1>
          <a:sysClr val="window" lastClr="FFFFFF"/>
        </a:lt1>
        <a:dk2>
          <a:srgbClr val="000000"/>
        </a:dk2>
        <a:lt2>
          <a:srgbClr val="FFF0D9"/>
        </a:lt2>
        <a:accent1>
          <a:srgbClr val="F2C785"/>
        </a:accent1>
        <a:accent2>
          <a:srgbClr val="CC9B52"/>
        </a:accent2>
        <a:accent3>
          <a:srgbClr val="F0923C"/>
        </a:accent3>
        <a:accent4>
          <a:srgbClr val="5C206B"/>
        </a:accent4>
        <a:accent5>
          <a:srgbClr val="A262B2"/>
        </a:accent5>
        <a:accent6>
          <a:srgbClr val="E8C2F2"/>
        </a:accent6>
        <a:hlink>
          <a:srgbClr val="2655FF"/>
        </a:hlink>
        <a:folHlink>
          <a:srgbClr val="6F2D80"/>
        </a:folHlink>
      </a:clrScheme>
    </a:extraClrScheme>
    <a:extraClrScheme>
      <a:clrScheme name="Clariant - Color Theme 4">
        <a:dk1>
          <a:sysClr val="windowText" lastClr="000000"/>
        </a:dk1>
        <a:lt1>
          <a:sysClr val="window" lastClr="FFFFFF"/>
        </a:lt1>
        <a:dk2>
          <a:srgbClr val="FFFFFF"/>
        </a:dk2>
        <a:lt2>
          <a:srgbClr val="CC9B52"/>
        </a:lt2>
        <a:accent1>
          <a:srgbClr val="F2C785"/>
        </a:accent1>
        <a:accent2>
          <a:srgbClr val="CC9B52"/>
        </a:accent2>
        <a:accent3>
          <a:srgbClr val="F0923C"/>
        </a:accent3>
        <a:accent4>
          <a:srgbClr val="5C206B"/>
        </a:accent4>
        <a:accent5>
          <a:srgbClr val="A262B2"/>
        </a:accent5>
        <a:accent6>
          <a:srgbClr val="E8C2F2"/>
        </a:accent6>
        <a:hlink>
          <a:srgbClr val="2655FF"/>
        </a:hlink>
        <a:folHlink>
          <a:srgbClr val="6F2D80"/>
        </a:folHlink>
      </a:clrScheme>
    </a:extraClrScheme>
    <a:extraClrScheme>
      <a:clrScheme name="Clariant - Color Theme 5">
        <a:dk1>
          <a:sysClr val="windowText" lastClr="000000"/>
        </a:dk1>
        <a:lt1>
          <a:sysClr val="window" lastClr="FFFFFF"/>
        </a:lt1>
        <a:dk2>
          <a:srgbClr val="000000"/>
        </a:dk2>
        <a:lt2>
          <a:srgbClr val="D9FFFD"/>
        </a:lt2>
        <a:accent1>
          <a:srgbClr val="2EE5DB"/>
        </a:accent1>
        <a:accent2>
          <a:srgbClr val="0F9992"/>
        </a:accent2>
        <a:accent3>
          <a:srgbClr val="006661"/>
        </a:accent3>
        <a:accent4>
          <a:srgbClr val="F0923C"/>
        </a:accent4>
        <a:accent5>
          <a:srgbClr val="FFBD80"/>
        </a:accent5>
        <a:accent6>
          <a:srgbClr val="FFD7B2"/>
        </a:accent6>
        <a:hlink>
          <a:srgbClr val="2655FF"/>
        </a:hlink>
        <a:folHlink>
          <a:srgbClr val="6F2D80"/>
        </a:folHlink>
      </a:clrScheme>
    </a:extraClrScheme>
    <a:extraClrScheme>
      <a:clrScheme name="Clariant - Color Theme 6">
        <a:dk1>
          <a:sysClr val="windowText" lastClr="000000"/>
        </a:dk1>
        <a:lt1>
          <a:sysClr val="window" lastClr="FFFFFF"/>
        </a:lt1>
        <a:dk2>
          <a:srgbClr val="FFFFFF"/>
        </a:dk2>
        <a:lt2>
          <a:srgbClr val="006661"/>
        </a:lt2>
        <a:accent1>
          <a:srgbClr val="2EE5DB"/>
        </a:accent1>
        <a:accent2>
          <a:srgbClr val="0F9992"/>
        </a:accent2>
        <a:accent3>
          <a:srgbClr val="006661"/>
        </a:accent3>
        <a:accent4>
          <a:srgbClr val="F0923C"/>
        </a:accent4>
        <a:accent5>
          <a:srgbClr val="FFBD80"/>
        </a:accent5>
        <a:accent6>
          <a:srgbClr val="FFD7B2"/>
        </a:accent6>
        <a:hlink>
          <a:srgbClr val="2655FF"/>
        </a:hlink>
        <a:folHlink>
          <a:srgbClr val="6F2D80"/>
        </a:folHlink>
      </a:clrScheme>
    </a:extraClrScheme>
    <a:extraClrScheme>
      <a:clrScheme name="Clariant - Color Theme 7">
        <a:dk1>
          <a:sysClr val="windowText" lastClr="000000"/>
        </a:dk1>
        <a:lt1>
          <a:sysClr val="window" lastClr="FFFFFF"/>
        </a:lt1>
        <a:dk2>
          <a:srgbClr val="000000"/>
        </a:dk2>
        <a:lt2>
          <a:srgbClr val="D9FFDD"/>
        </a:lt2>
        <a:accent1>
          <a:srgbClr val="2EE5DB"/>
        </a:accent1>
        <a:accent2>
          <a:srgbClr val="0F9992"/>
        </a:accent2>
        <a:accent3>
          <a:srgbClr val="006661"/>
        </a:accent3>
        <a:accent4>
          <a:srgbClr val="0D2680"/>
        </a:accent4>
        <a:accent5>
          <a:srgbClr val="2655FF"/>
        </a:accent5>
        <a:accent6>
          <a:srgbClr val="BFE5FF"/>
        </a:accent6>
        <a:hlink>
          <a:srgbClr val="2655FF"/>
        </a:hlink>
        <a:folHlink>
          <a:srgbClr val="6F2D80"/>
        </a:folHlink>
      </a:clrScheme>
    </a:extraClrScheme>
    <a:extraClrScheme>
      <a:clrScheme name="Clariant - Color Theme 8">
        <a:dk1>
          <a:sysClr val="windowText" lastClr="000000"/>
        </a:dk1>
        <a:lt1>
          <a:sysClr val="window" lastClr="FFFFFF"/>
        </a:lt1>
        <a:dk2>
          <a:srgbClr val="FFFFFF"/>
        </a:dk2>
        <a:lt2>
          <a:srgbClr val="0D2680"/>
        </a:lt2>
        <a:accent1>
          <a:srgbClr val="2EE5DB"/>
        </a:accent1>
        <a:accent2>
          <a:srgbClr val="0F9992"/>
        </a:accent2>
        <a:accent3>
          <a:srgbClr val="006661"/>
        </a:accent3>
        <a:accent4>
          <a:srgbClr val="0D2680"/>
        </a:accent4>
        <a:accent5>
          <a:srgbClr val="2655FF"/>
        </a:accent5>
        <a:accent6>
          <a:srgbClr val="BFE5FF"/>
        </a:accent6>
        <a:hlink>
          <a:srgbClr val="2655FF"/>
        </a:hlink>
        <a:folHlink>
          <a:srgbClr val="6F2D80"/>
        </a:folHlink>
      </a:clrScheme>
    </a:extraClrScheme>
  </a:extraClrSchemeLst>
  <a:extLst>
    <a:ext uri="{05A4C25C-085E-4340-85A3-A5531E510DB2}">
      <thm15:themeFamily xmlns:thm15="http://schemas.microsoft.com/office/thememl/2012/main" name="Clariant169_20211005(2).potx" id="{D89C960C-8932-4C01-94B6-996E90F79D29}" vid="{6E9905BF-B954-4453-8BA6-A0589B0082E4}"/>
    </a:ext>
  </a:extLst>
</a:theme>
</file>

<file path=ppt/theme/theme2.xml><?xml version="1.0" encoding="utf-8"?>
<a:theme xmlns:a="http://schemas.openxmlformats.org/drawingml/2006/main" name="Office Theme">
  <a:themeElements>
    <a:clrScheme name="Clariant - Theme 1">
      <a:dk1>
        <a:sysClr val="windowText" lastClr="000000"/>
      </a:dk1>
      <a:lt1>
        <a:sysClr val="window" lastClr="FFFFFF"/>
      </a:lt1>
      <a:dk2>
        <a:srgbClr val="929292"/>
      </a:dk2>
      <a:lt2>
        <a:srgbClr val="D9D9D9"/>
      </a:lt2>
      <a:accent1>
        <a:srgbClr val="BCBCBC"/>
      </a:accent1>
      <a:accent2>
        <a:srgbClr val="636363"/>
      </a:accent2>
      <a:accent3>
        <a:srgbClr val="D23228"/>
      </a:accent3>
      <a:accent4>
        <a:srgbClr val="C85096"/>
      </a:accent4>
      <a:accent5>
        <a:srgbClr val="50C8F0"/>
      </a:accent5>
      <a:accent6>
        <a:srgbClr val="78B946"/>
      </a:accent6>
      <a:hlink>
        <a:srgbClr val="004696"/>
      </a:hlink>
      <a:folHlink>
        <a:srgbClr val="8C328C"/>
      </a:folHlink>
    </a:clrScheme>
    <a:fontScheme name="Clariant PowerPoi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lariant">
      <a:dk1>
        <a:sysClr val="windowText" lastClr="000000"/>
      </a:dk1>
      <a:lt1>
        <a:sysClr val="window" lastClr="FFFFFF"/>
      </a:lt1>
      <a:dk2>
        <a:srgbClr val="9699A0"/>
      </a:dk2>
      <a:lt2>
        <a:srgbClr val="C8CCD1"/>
      </a:lt2>
      <a:accent1>
        <a:srgbClr val="C8CCD1"/>
      </a:accent1>
      <a:accent2>
        <a:srgbClr val="9699A0"/>
      </a:accent2>
      <a:accent3>
        <a:srgbClr val="64666E"/>
      </a:accent3>
      <a:accent4>
        <a:srgbClr val="32323C"/>
      </a:accent4>
      <a:accent5>
        <a:srgbClr val="FCD900"/>
      </a:accent5>
      <a:accent6>
        <a:srgbClr val="FF7900"/>
      </a:accent6>
      <a:hlink>
        <a:srgbClr val="003591"/>
      </a:hlink>
      <a:folHlink>
        <a:srgbClr val="6E2585"/>
      </a:folHlink>
    </a:clrScheme>
    <a:fontScheme name="Claria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10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11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12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13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14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15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2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3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4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5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6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7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8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ppt/theme/themeOverride9.xml><?xml version="1.0" encoding="utf-8"?>
<a:themeOverride xmlns:a="http://schemas.openxmlformats.org/drawingml/2006/main">
  <a:clrScheme name="Clariant - Color Theme 1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CCCCCC"/>
    </a:accent1>
    <a:accent2>
      <a:srgbClr val="666666"/>
    </a:accent2>
    <a:accent3>
      <a:srgbClr val="000000"/>
    </a:accent3>
    <a:accent4>
      <a:srgbClr val="2655FF"/>
    </a:accent4>
    <a:accent5>
      <a:srgbClr val="99D6FF"/>
    </a:accent5>
    <a:accent6>
      <a:srgbClr val="2EE5DB"/>
    </a:accent6>
    <a:hlink>
      <a:srgbClr val="2655FF"/>
    </a:hlink>
    <a:folHlink>
      <a:srgbClr val="6F2D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7E7AA592E0FA4AB424152FF610E582" ma:contentTypeVersion="16" ma:contentTypeDescription="Create a new document." ma:contentTypeScope="" ma:versionID="806d35f5adcb02be8460cb2d65e1c51e">
  <xsd:schema xmlns:xsd="http://www.w3.org/2001/XMLSchema" xmlns:xs="http://www.w3.org/2001/XMLSchema" xmlns:p="http://schemas.microsoft.com/office/2006/metadata/properties" xmlns:ns2="8d4d7ed0-56f2-4bdb-9895-934d25a45321" xmlns:ns3="6b8ccfcb-f6db-40c0-963e-febbf7197a44" targetNamespace="http://schemas.microsoft.com/office/2006/metadata/properties" ma:root="true" ma:fieldsID="e29e00f17120c4d5a204f81ae16c5147" ns2:_="" ns3:_="">
    <xsd:import namespace="8d4d7ed0-56f2-4bdb-9895-934d25a45321"/>
    <xsd:import namespace="6b8ccfcb-f6db-40c0-963e-febbf7197a4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4d7ed0-56f2-4bdb-9895-934d25a4532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85e2beb-dee2-459c-bab9-f621bcfb0484}" ma:internalName="TaxCatchAll" ma:showField="CatchAllData" ma:web="8d4d7ed0-56f2-4bdb-9895-934d25a453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8ccfcb-f6db-40c0-963e-febbf7197a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ede0447-f3d7-4d1b-893b-1d8d6f43358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.xml><?xml version="1.0" encoding="utf-8"?>
<VariableListDefinition name="Computed" displayName="Computed" id="54c7f277-bd7f-4c89-aeca-7cb190eb073e" isdomainofvalue="False" dataSourceId="618e38d0-62a2-4b01-b101-9077121af512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d4d7ed0-56f2-4bdb-9895-934d25a45321" xsi:nil="true"/>
    <lcf76f155ced4ddcb4097134ff3c332f xmlns="6b8ccfcb-f6db-40c0-963e-febbf7197a44">
      <Terms xmlns="http://schemas.microsoft.com/office/infopath/2007/PartnerControls"/>
    </lcf76f155ced4ddcb4097134ff3c332f>
  </documentManagement>
</p:properties>
</file>

<file path=customXml/item3.xml><?xml version="1.0" encoding="utf-8"?>
<VariableList UniqueId="54c7f277-bd7f-4c89-aeca-7cb190eb073e" Name="Computed" ContentType="XML" MajorVersion="0" MinorVersion="1" isLocalCopy="False" IsBaseObject="False" DataSourceId="618e38d0-62a2-4b01-b101-9077121af512" DataSourceMajorVersion="0" DataSourceMinorVersion="1"/>
</file>

<file path=customXml/item4.xml><?xml version="1.0" encoding="utf-8"?>
<VariableListDefinition name="System" displayName="System" id="f7a8f543-75ce-4e5d-845a-3765f7483729" isdomainofvalue="False" dataSourceId="aa03b14b-0b3d-4d7e-a15a-bfc5d98c481b"/>
</file>

<file path=customXml/item5.xml><?xml version="1.0" encoding="utf-8"?>
<VariableListDefinition name="AD_HOC" displayName="AD_HOC" id="698b673a-4b5d-4873-96cf-3eb247ff2b40" isdomainofvalue="False" dataSourceId="db95d7ac-145d-4209-a893-6daade27e1f7"/>
</file>

<file path=customXml/item6.xml><?xml version="1.0" encoding="utf-8"?>
<VariableList UniqueId="f7a8f543-75ce-4e5d-845a-3765f7483729" Name="System" ContentType="XML" MajorVersion="0" MinorVersion="1" isLocalCopy="False" IsBaseObject="False" DataSourceId="aa03b14b-0b3d-4d7e-a15a-bfc5d98c481b" DataSourceMajorVersion="0" DataSourceMinorVersion="1"/>
</file>

<file path=customXml/item7.xml><?xml version="1.0" encoding="utf-8"?>
<VariableList UniqueId="698b673a-4b5d-4873-96cf-3eb247ff2b40" Name="AD_HOC" ContentType="XML" MajorVersion="0" MinorVersion="1" isLocalCopy="False" IsBaseObject="False" DataSourceId="db95d7ac-145d-4209-a893-6daade27e1f7" DataSourceMajorVersion="0" DataSourceMinorVersion="1"/>
</file>

<file path=customXml/item8.xml><?xml version="1.0" encoding="utf-8"?>
<AllExternalAdhocVariableMappings/>
</file>

<file path=customXml/item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3A7B714-3901-4D9D-A76C-F6D6BC61A6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4d7ed0-56f2-4bdb-9895-934d25a45321"/>
    <ds:schemaRef ds:uri="6b8ccfcb-f6db-40c0-963e-febbf7197a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0.xml><?xml version="1.0" encoding="utf-8"?>
<ds:datastoreItem xmlns:ds="http://schemas.openxmlformats.org/officeDocument/2006/customXml" ds:itemID="{5A654F5A-5BC0-45CC-8F85-2C8A2A112E16}">
  <ds:schemaRefs/>
</ds:datastoreItem>
</file>

<file path=customXml/itemProps2.xml><?xml version="1.0" encoding="utf-8"?>
<ds:datastoreItem xmlns:ds="http://schemas.openxmlformats.org/officeDocument/2006/customXml" ds:itemID="{4787AB70-9D0A-4730-8127-7BDC2FC56030}">
  <ds:schemaRefs>
    <ds:schemaRef ds:uri="6b8ccfcb-f6db-40c0-963e-febbf7197a44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8d4d7ed0-56f2-4bdb-9895-934d25a4532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364E56B-378B-42EA-80DD-73101B617612}">
  <ds:schemaRefs/>
</ds:datastoreItem>
</file>

<file path=customXml/itemProps4.xml><?xml version="1.0" encoding="utf-8"?>
<ds:datastoreItem xmlns:ds="http://schemas.openxmlformats.org/officeDocument/2006/customXml" ds:itemID="{9A05A2CF-BF3A-461C-A5D9-96757B0C0927}">
  <ds:schemaRefs/>
</ds:datastoreItem>
</file>

<file path=customXml/itemProps5.xml><?xml version="1.0" encoding="utf-8"?>
<ds:datastoreItem xmlns:ds="http://schemas.openxmlformats.org/officeDocument/2006/customXml" ds:itemID="{21A933BE-3836-4FE7-B799-E7891FBCD50A}">
  <ds:schemaRefs/>
</ds:datastoreItem>
</file>

<file path=customXml/itemProps6.xml><?xml version="1.0" encoding="utf-8"?>
<ds:datastoreItem xmlns:ds="http://schemas.openxmlformats.org/officeDocument/2006/customXml" ds:itemID="{BABF96E9-18D4-43A8-9BD5-50A8FC6383AC}">
  <ds:schemaRefs/>
</ds:datastoreItem>
</file>

<file path=customXml/itemProps7.xml><?xml version="1.0" encoding="utf-8"?>
<ds:datastoreItem xmlns:ds="http://schemas.openxmlformats.org/officeDocument/2006/customXml" ds:itemID="{2AEF9C0D-B6B4-4C0A-9CE8-F1506E38CD91}">
  <ds:schemaRefs/>
</ds:datastoreItem>
</file>

<file path=customXml/itemProps8.xml><?xml version="1.0" encoding="utf-8"?>
<ds:datastoreItem xmlns:ds="http://schemas.openxmlformats.org/officeDocument/2006/customXml" ds:itemID="{9885B333-0CED-4B3E-93F1-B50504B03AE1}">
  <ds:schemaRefs/>
</ds:datastoreItem>
</file>

<file path=customXml/itemProps9.xml><?xml version="1.0" encoding="utf-8"?>
<ds:datastoreItem xmlns:ds="http://schemas.openxmlformats.org/officeDocument/2006/customXml" ds:itemID="{91A6CDD1-FC41-46BB-AED0-12EB1D42EAD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ariant169</Template>
  <TotalTime>0</TotalTime>
  <Words>51</Words>
  <Application>Microsoft Office PowerPoint</Application>
  <PresentationFormat>Widescreen</PresentationFormat>
  <Paragraphs>16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lariant</vt:lpstr>
      <vt:lpstr>think-cell Slide</vt:lpstr>
      <vt:lpstr>Clariant Sasol Catalyst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ater chemistry –  between people and planet</dc:title>
  <dc:creator>Luca Lavina</dc:creator>
  <cp:lastModifiedBy>Learners Maluleke</cp:lastModifiedBy>
  <cp:revision>5</cp:revision>
  <dcterms:created xsi:type="dcterms:W3CDTF">2021-10-05T15:13:47Z</dcterms:created>
  <dcterms:modified xsi:type="dcterms:W3CDTF">2023-08-08T09:3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7E7AA592E0FA4AB424152FF610E582</vt:lpwstr>
  </property>
  <property fmtid="{D5CDD505-2E9C-101B-9397-08002B2CF9AE}" pid="3" name="MediaServiceImageTags">
    <vt:lpwstr/>
  </property>
</Properties>
</file>